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heme/theme3.xml" ContentType="application/vnd.openxmlformats-officedocument.theme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319" r:id="rId1"/>
    <p:sldMasterId id="2147484328" r:id="rId2"/>
  </p:sldMasterIdLst>
  <p:notesMasterIdLst>
    <p:notesMasterId r:id="rId11"/>
  </p:notesMasterIdLst>
  <p:sldIdLst>
    <p:sldId id="326" r:id="rId3"/>
    <p:sldId id="286" r:id="rId4"/>
    <p:sldId id="302" r:id="rId5"/>
    <p:sldId id="321" r:id="rId6"/>
    <p:sldId id="322" r:id="rId7"/>
    <p:sldId id="323" r:id="rId8"/>
    <p:sldId id="324" r:id="rId9"/>
    <p:sldId id="325" r:id="rId10"/>
  </p:sldIdLst>
  <p:sldSz cx="12192000" cy="6858000"/>
  <p:notesSz cx="9931400" cy="6794500"/>
  <p:custDataLst>
    <p:tags r:id="rId12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1300" b="1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300" b="1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300" b="1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300" b="1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300" b="1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300" b="1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300" b="1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300" b="1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300" b="1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3249" userDrawn="1">
          <p15:clr>
            <a:srgbClr val="A4A3A4"/>
          </p15:clr>
        </p15:guide>
        <p15:guide id="2" pos="546" userDrawn="1">
          <p15:clr>
            <a:srgbClr val="A4A3A4"/>
          </p15:clr>
        </p15:guide>
        <p15:guide id="3" orient="horz" pos="436" userDrawn="1">
          <p15:clr>
            <a:srgbClr val="A4A3A4"/>
          </p15:clr>
        </p15:guide>
        <p15:guide id="4" orient="horz" pos="3113" userDrawn="1">
          <p15:clr>
            <a:srgbClr val="A4A3A4"/>
          </p15:clr>
        </p15:guide>
        <p15:guide id="5" pos="4112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Александр Морозов" initials="АМ" lastIdx="1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DB69"/>
    <a:srgbClr val="2C4156"/>
    <a:srgbClr val="B12726"/>
    <a:srgbClr val="FFFFFF"/>
    <a:srgbClr val="BFBFB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696" autoAdjust="0"/>
    <p:restoredTop sz="94660"/>
  </p:normalViewPr>
  <p:slideViewPr>
    <p:cSldViewPr>
      <p:cViewPr>
        <p:scale>
          <a:sx n="50" d="100"/>
          <a:sy n="50" d="100"/>
        </p:scale>
        <p:origin x="-804" y="-306"/>
      </p:cViewPr>
      <p:guideLst>
        <p:guide orient="horz" pos="3249"/>
        <p:guide orient="horz" pos="436"/>
        <p:guide orient="horz" pos="3113"/>
        <p:guide pos="546"/>
        <p:guide pos="4112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commentAuthors" Target="commentAuthor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ags" Target="tags/tag1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viewProps" Target="view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4302972" cy="340756"/>
          </a:xfrm>
          <a:prstGeom prst="rect">
            <a:avLst/>
          </a:prstGeom>
        </p:spPr>
        <p:txBody>
          <a:bodyPr vert="horz" lIns="91294" tIns="45647" rIns="91294" bIns="45647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5625257" y="0"/>
            <a:ext cx="4304558" cy="340756"/>
          </a:xfrm>
          <a:prstGeom prst="rect">
            <a:avLst/>
          </a:prstGeom>
        </p:spPr>
        <p:txBody>
          <a:bodyPr vert="horz" lIns="91294" tIns="45647" rIns="91294" bIns="45647" rtlCol="0"/>
          <a:lstStyle>
            <a:lvl1pPr algn="r">
              <a:defRPr sz="1200"/>
            </a:lvl1pPr>
          </a:lstStyle>
          <a:p>
            <a:fld id="{5CC611D4-7E9D-41AE-A32E-191A006D988A}" type="datetimeFigureOut">
              <a:rPr lang="ru-RU" smtClean="0"/>
              <a:t>26.04.2016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2927350" y="849313"/>
            <a:ext cx="4076700" cy="22939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294" tIns="45647" rIns="91294" bIns="45647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992506" y="3269665"/>
            <a:ext cx="7946388" cy="2675324"/>
          </a:xfrm>
          <a:prstGeom prst="rect">
            <a:avLst/>
          </a:prstGeom>
        </p:spPr>
        <p:txBody>
          <a:bodyPr vert="horz" lIns="91294" tIns="45647" rIns="91294" bIns="45647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2" y="6453746"/>
            <a:ext cx="4302972" cy="340756"/>
          </a:xfrm>
          <a:prstGeom prst="rect">
            <a:avLst/>
          </a:prstGeom>
        </p:spPr>
        <p:txBody>
          <a:bodyPr vert="horz" lIns="91294" tIns="45647" rIns="91294" bIns="45647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5625257" y="6453746"/>
            <a:ext cx="4304558" cy="340756"/>
          </a:xfrm>
          <a:prstGeom prst="rect">
            <a:avLst/>
          </a:prstGeom>
        </p:spPr>
        <p:txBody>
          <a:bodyPr vert="horz" lIns="91294" tIns="45647" rIns="91294" bIns="45647" rtlCol="0" anchor="b"/>
          <a:lstStyle>
            <a:lvl1pPr algn="r">
              <a:defRPr sz="1200"/>
            </a:lvl1pPr>
          </a:lstStyle>
          <a:p>
            <a:fld id="{6A3E82E6-6153-4B70-A47D-D0BE5030AE4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346218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4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7.xml"/><Relationship Id="rId1" Type="http://schemas.openxmlformats.org/officeDocument/2006/relationships/tags" Target="../tags/tag56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6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64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6" Type="http://schemas.openxmlformats.org/officeDocument/2006/relationships/tags" Target="../tags/tag67.xml"/><Relationship Id="rId5" Type="http://schemas.openxmlformats.org/officeDocument/2006/relationships/tags" Target="../tags/tag66.xml"/><Relationship Id="rId4" Type="http://schemas.openxmlformats.org/officeDocument/2006/relationships/tags" Target="../tags/tag65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5" Type="http://schemas.openxmlformats.org/officeDocument/2006/relationships/tags" Target="../tags/tag72.xml"/><Relationship Id="rId4" Type="http://schemas.openxmlformats.org/officeDocument/2006/relationships/tags" Target="../tags/tag71.xml"/><Relationship Id="rId9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76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8.xml"/><Relationship Id="rId1" Type="http://schemas.openxmlformats.org/officeDocument/2006/relationships/tags" Target="../tags/tag77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tags" Target="../tags/tag29.xml"/><Relationship Id="rId5" Type="http://schemas.openxmlformats.org/officeDocument/2006/relationships/tags" Target="../tags/tag28.xml"/><Relationship Id="rId4" Type="http://schemas.openxmlformats.org/officeDocument/2006/relationships/tags" Target="../tags/tag27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tags" Target="../tags/tag37.xml"/><Relationship Id="rId3" Type="http://schemas.openxmlformats.org/officeDocument/2006/relationships/tags" Target="../tags/tag32.xml"/><Relationship Id="rId7" Type="http://schemas.openxmlformats.org/officeDocument/2006/relationships/tags" Target="../tags/tag36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tags" Target="../tags/tag35.xml"/><Relationship Id="rId5" Type="http://schemas.openxmlformats.org/officeDocument/2006/relationships/tags" Target="../tags/tag34.xml"/><Relationship Id="rId4" Type="http://schemas.openxmlformats.org/officeDocument/2006/relationships/tags" Target="../tags/tag33.xml"/><Relationship Id="rId9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8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0.xml"/><Relationship Id="rId1" Type="http://schemas.openxmlformats.org/officeDocument/2006/relationships/tags" Target="../tags/tag39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52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4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Группа 3"/>
          <p:cNvGrpSpPr/>
          <p:nvPr userDrawn="1"/>
        </p:nvGrpSpPr>
        <p:grpSpPr>
          <a:xfrm>
            <a:off x="-49164" y="-47003"/>
            <a:ext cx="12251487" cy="846767"/>
            <a:chOff x="-49164" y="-47003"/>
            <a:chExt cx="12251487" cy="846767"/>
          </a:xfrm>
        </p:grpSpPr>
        <p:sp>
          <p:nvSpPr>
            <p:cNvPr id="21" name="Freeform 8"/>
            <p:cNvSpPr>
              <a:spLocks/>
            </p:cNvSpPr>
            <p:nvPr/>
          </p:nvSpPr>
          <p:spPr bwMode="auto">
            <a:xfrm flipH="1">
              <a:off x="1775518" y="-47003"/>
              <a:ext cx="10426805" cy="606941"/>
            </a:xfrm>
            <a:custGeom>
              <a:avLst/>
              <a:gdLst>
                <a:gd name="T0" fmla="*/ 0 w 4406"/>
                <a:gd name="T1" fmla="*/ 0 h 1436"/>
                <a:gd name="T2" fmla="*/ 0 w 4406"/>
                <a:gd name="T3" fmla="*/ 1436 h 1436"/>
                <a:gd name="T4" fmla="*/ 4110 w 4406"/>
                <a:gd name="T5" fmla="*/ 405 h 1436"/>
                <a:gd name="T6" fmla="*/ 4406 w 4406"/>
                <a:gd name="T7" fmla="*/ 0 h 1436"/>
                <a:gd name="T8" fmla="*/ 0 w 4406"/>
                <a:gd name="T9" fmla="*/ 0 h 1436"/>
                <a:gd name="connsiteX0" fmla="*/ 0 w 10000"/>
                <a:gd name="connsiteY0" fmla="*/ 0 h 5109"/>
                <a:gd name="connsiteX1" fmla="*/ 6359 w 10000"/>
                <a:gd name="connsiteY1" fmla="*/ 5109 h 5109"/>
                <a:gd name="connsiteX2" fmla="*/ 9328 w 10000"/>
                <a:gd name="connsiteY2" fmla="*/ 2820 h 5109"/>
                <a:gd name="connsiteX3" fmla="*/ 10000 w 10000"/>
                <a:gd name="connsiteY3" fmla="*/ 0 h 5109"/>
                <a:gd name="connsiteX4" fmla="*/ 0 w 10000"/>
                <a:gd name="connsiteY4" fmla="*/ 0 h 5109"/>
                <a:gd name="connsiteX0" fmla="*/ 0 w 3709"/>
                <a:gd name="connsiteY0" fmla="*/ 306 h 10000"/>
                <a:gd name="connsiteX1" fmla="*/ 68 w 3709"/>
                <a:gd name="connsiteY1" fmla="*/ 10000 h 10000"/>
                <a:gd name="connsiteX2" fmla="*/ 3037 w 3709"/>
                <a:gd name="connsiteY2" fmla="*/ 5520 h 10000"/>
                <a:gd name="connsiteX3" fmla="*/ 3709 w 3709"/>
                <a:gd name="connsiteY3" fmla="*/ 0 h 10000"/>
                <a:gd name="connsiteX4" fmla="*/ 0 w 3709"/>
                <a:gd name="connsiteY4" fmla="*/ 306 h 10000"/>
                <a:gd name="connsiteX0" fmla="*/ 0 w 10000"/>
                <a:gd name="connsiteY0" fmla="*/ 306 h 9927"/>
                <a:gd name="connsiteX1" fmla="*/ 49 w 10000"/>
                <a:gd name="connsiteY1" fmla="*/ 9927 h 9927"/>
                <a:gd name="connsiteX2" fmla="*/ 8188 w 10000"/>
                <a:gd name="connsiteY2" fmla="*/ 5520 h 9927"/>
                <a:gd name="connsiteX3" fmla="*/ 10000 w 10000"/>
                <a:gd name="connsiteY3" fmla="*/ 0 h 9927"/>
                <a:gd name="connsiteX4" fmla="*/ 0 w 10000"/>
                <a:gd name="connsiteY4" fmla="*/ 306 h 9927"/>
                <a:gd name="connsiteX0" fmla="*/ 0 w 10000"/>
                <a:gd name="connsiteY0" fmla="*/ 308 h 10000"/>
                <a:gd name="connsiteX1" fmla="*/ 205 w 10000"/>
                <a:gd name="connsiteY1" fmla="*/ 10000 h 10000"/>
                <a:gd name="connsiteX2" fmla="*/ 8188 w 10000"/>
                <a:gd name="connsiteY2" fmla="*/ 5561 h 10000"/>
                <a:gd name="connsiteX3" fmla="*/ 10000 w 10000"/>
                <a:gd name="connsiteY3" fmla="*/ 0 h 10000"/>
                <a:gd name="connsiteX4" fmla="*/ 0 w 10000"/>
                <a:gd name="connsiteY4" fmla="*/ 308 h 10000"/>
                <a:gd name="connsiteX0" fmla="*/ 0 w 9864"/>
                <a:gd name="connsiteY0" fmla="*/ 40 h 10000"/>
                <a:gd name="connsiteX1" fmla="*/ 69 w 9864"/>
                <a:gd name="connsiteY1" fmla="*/ 10000 h 10000"/>
                <a:gd name="connsiteX2" fmla="*/ 8052 w 9864"/>
                <a:gd name="connsiteY2" fmla="*/ 5561 h 10000"/>
                <a:gd name="connsiteX3" fmla="*/ 9864 w 9864"/>
                <a:gd name="connsiteY3" fmla="*/ 0 h 10000"/>
                <a:gd name="connsiteX4" fmla="*/ 0 w 9864"/>
                <a:gd name="connsiteY4" fmla="*/ 40 h 10000"/>
                <a:gd name="connsiteX0" fmla="*/ 9 w 9950"/>
                <a:gd name="connsiteY0" fmla="*/ 40 h 10000"/>
                <a:gd name="connsiteX1" fmla="*/ 20 w 9950"/>
                <a:gd name="connsiteY1" fmla="*/ 10000 h 10000"/>
                <a:gd name="connsiteX2" fmla="*/ 8113 w 9950"/>
                <a:gd name="connsiteY2" fmla="*/ 5561 h 10000"/>
                <a:gd name="connsiteX3" fmla="*/ 9950 w 9950"/>
                <a:gd name="connsiteY3" fmla="*/ 0 h 10000"/>
                <a:gd name="connsiteX4" fmla="*/ 9 w 9950"/>
                <a:gd name="connsiteY4" fmla="*/ 40 h 10000"/>
                <a:gd name="connsiteX0" fmla="*/ 19 w 10010"/>
                <a:gd name="connsiteY0" fmla="*/ 40 h 10000"/>
                <a:gd name="connsiteX1" fmla="*/ 30 w 10010"/>
                <a:gd name="connsiteY1" fmla="*/ 10000 h 10000"/>
                <a:gd name="connsiteX2" fmla="*/ 8164 w 10010"/>
                <a:gd name="connsiteY2" fmla="*/ 5561 h 10000"/>
                <a:gd name="connsiteX3" fmla="*/ 10010 w 10010"/>
                <a:gd name="connsiteY3" fmla="*/ 0 h 10000"/>
                <a:gd name="connsiteX4" fmla="*/ 19 w 10010"/>
                <a:gd name="connsiteY4" fmla="*/ 40 h 10000"/>
                <a:gd name="connsiteX0" fmla="*/ 0 w 9991"/>
                <a:gd name="connsiteY0" fmla="*/ 40 h 10000"/>
                <a:gd name="connsiteX1" fmla="*/ 11 w 9991"/>
                <a:gd name="connsiteY1" fmla="*/ 10000 h 10000"/>
                <a:gd name="connsiteX2" fmla="*/ 8145 w 9991"/>
                <a:gd name="connsiteY2" fmla="*/ 5561 h 10000"/>
                <a:gd name="connsiteX3" fmla="*/ 9991 w 9991"/>
                <a:gd name="connsiteY3" fmla="*/ 0 h 10000"/>
                <a:gd name="connsiteX4" fmla="*/ 0 w 9991"/>
                <a:gd name="connsiteY4" fmla="*/ 40 h 10000"/>
                <a:gd name="connsiteX0" fmla="*/ 11 w 10011"/>
                <a:gd name="connsiteY0" fmla="*/ 40 h 10188"/>
                <a:gd name="connsiteX1" fmla="*/ 0 w 10011"/>
                <a:gd name="connsiteY1" fmla="*/ 10188 h 10188"/>
                <a:gd name="connsiteX2" fmla="*/ 8163 w 10011"/>
                <a:gd name="connsiteY2" fmla="*/ 5561 h 10188"/>
                <a:gd name="connsiteX3" fmla="*/ 10011 w 10011"/>
                <a:gd name="connsiteY3" fmla="*/ 0 h 10188"/>
                <a:gd name="connsiteX4" fmla="*/ 11 w 10011"/>
                <a:gd name="connsiteY4" fmla="*/ 40 h 101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11" h="10188">
                  <a:moveTo>
                    <a:pt x="11" y="40"/>
                  </a:moveTo>
                  <a:cubicBezTo>
                    <a:pt x="15" y="3295"/>
                    <a:pt x="2" y="6839"/>
                    <a:pt x="0" y="10188"/>
                  </a:cubicBezTo>
                  <a:lnTo>
                    <a:pt x="8163" y="5561"/>
                  </a:lnTo>
                  <a:lnTo>
                    <a:pt x="10011" y="0"/>
                  </a:lnTo>
                  <a:lnTo>
                    <a:pt x="11" y="40"/>
                  </a:lnTo>
                  <a:close/>
                </a:path>
              </a:pathLst>
            </a:custGeom>
            <a:solidFill>
              <a:srgbClr val="2C41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2542" tIns="56271" rIns="112542" bIns="56271" numCol="1" anchor="t" anchorCtr="0" compatLnSpc="1">
              <a:prstTxWarp prst="textNoShape">
                <a:avLst/>
              </a:prstTxWarp>
            </a:bodyPr>
            <a:lstStyle/>
            <a:p>
              <a:endParaRPr lang="ru-RU" sz="1600"/>
            </a:p>
          </p:txBody>
        </p:sp>
        <p:sp>
          <p:nvSpPr>
            <p:cNvPr id="23" name="Freeform 6"/>
            <p:cNvSpPr>
              <a:spLocks/>
            </p:cNvSpPr>
            <p:nvPr userDrawn="1"/>
          </p:nvSpPr>
          <p:spPr bwMode="auto">
            <a:xfrm>
              <a:off x="-34838" y="-38715"/>
              <a:ext cx="9011158" cy="801026"/>
            </a:xfrm>
            <a:custGeom>
              <a:avLst/>
              <a:gdLst>
                <a:gd name="T0" fmla="*/ 0 w 5214"/>
                <a:gd name="T1" fmla="*/ 0 h 2191"/>
                <a:gd name="T2" fmla="*/ 0 w 5214"/>
                <a:gd name="T3" fmla="*/ 2191 h 2191"/>
                <a:gd name="T4" fmla="*/ 5214 w 5214"/>
                <a:gd name="T5" fmla="*/ 0 h 2191"/>
                <a:gd name="T6" fmla="*/ 0 w 5214"/>
                <a:gd name="T7" fmla="*/ 0 h 2191"/>
                <a:gd name="connsiteX0" fmla="*/ 0 w 10000"/>
                <a:gd name="connsiteY0" fmla="*/ 0 h 4612"/>
                <a:gd name="connsiteX1" fmla="*/ 5345 w 10000"/>
                <a:gd name="connsiteY1" fmla="*/ 4612 h 4612"/>
                <a:gd name="connsiteX2" fmla="*/ 10000 w 10000"/>
                <a:gd name="connsiteY2" fmla="*/ 0 h 4612"/>
                <a:gd name="connsiteX3" fmla="*/ 0 w 10000"/>
                <a:gd name="connsiteY3" fmla="*/ 0 h 4612"/>
                <a:gd name="connsiteX0" fmla="*/ 0 w 4684"/>
                <a:gd name="connsiteY0" fmla="*/ 74 h 10000"/>
                <a:gd name="connsiteX1" fmla="*/ 29 w 4684"/>
                <a:gd name="connsiteY1" fmla="*/ 10000 h 10000"/>
                <a:gd name="connsiteX2" fmla="*/ 4684 w 4684"/>
                <a:gd name="connsiteY2" fmla="*/ 0 h 10000"/>
                <a:gd name="connsiteX3" fmla="*/ 0 w 4684"/>
                <a:gd name="connsiteY3" fmla="*/ 74 h 10000"/>
                <a:gd name="connsiteX0" fmla="*/ 0 w 10000"/>
                <a:gd name="connsiteY0" fmla="*/ 74 h 9961"/>
                <a:gd name="connsiteX1" fmla="*/ 140 w 10000"/>
                <a:gd name="connsiteY1" fmla="*/ 9961 h 9961"/>
                <a:gd name="connsiteX2" fmla="*/ 10000 w 10000"/>
                <a:gd name="connsiteY2" fmla="*/ 0 h 9961"/>
                <a:gd name="connsiteX3" fmla="*/ 0 w 10000"/>
                <a:gd name="connsiteY3" fmla="*/ 74 h 9961"/>
                <a:gd name="connsiteX0" fmla="*/ 9 w 9866"/>
                <a:gd name="connsiteY0" fmla="*/ 0 h 10081"/>
                <a:gd name="connsiteX1" fmla="*/ 6 w 9866"/>
                <a:gd name="connsiteY1" fmla="*/ 10081 h 10081"/>
                <a:gd name="connsiteX2" fmla="*/ 9866 w 9866"/>
                <a:gd name="connsiteY2" fmla="*/ 81 h 10081"/>
                <a:gd name="connsiteX3" fmla="*/ 9 w 9866"/>
                <a:gd name="connsiteY3" fmla="*/ 0 h 10081"/>
                <a:gd name="connsiteX0" fmla="*/ 9 w 10000"/>
                <a:gd name="connsiteY0" fmla="*/ 36 h 9920"/>
                <a:gd name="connsiteX1" fmla="*/ 6 w 10000"/>
                <a:gd name="connsiteY1" fmla="*/ 9920 h 9920"/>
                <a:gd name="connsiteX2" fmla="*/ 10000 w 10000"/>
                <a:gd name="connsiteY2" fmla="*/ 0 h 9920"/>
                <a:gd name="connsiteX3" fmla="*/ 9 w 10000"/>
                <a:gd name="connsiteY3" fmla="*/ 36 h 9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000" h="9920">
                  <a:moveTo>
                    <a:pt x="9" y="36"/>
                  </a:moveTo>
                  <a:cubicBezTo>
                    <a:pt x="30" y="3331"/>
                    <a:pt x="-15" y="6625"/>
                    <a:pt x="6" y="9920"/>
                  </a:cubicBezTo>
                  <a:lnTo>
                    <a:pt x="10000" y="0"/>
                  </a:lnTo>
                  <a:lnTo>
                    <a:pt x="9" y="3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112542" tIns="56271" rIns="112542" bIns="56271" numCol="1" anchor="t" anchorCtr="0" compatLnSpc="1">
              <a:prstTxWarp prst="textNoShape">
                <a:avLst/>
              </a:prstTxWarp>
            </a:bodyPr>
            <a:lstStyle/>
            <a:p>
              <a:endParaRPr lang="ru-RU" sz="1600" dirty="0"/>
            </a:p>
          </p:txBody>
        </p:sp>
        <p:sp>
          <p:nvSpPr>
            <p:cNvPr id="22" name="Freeform 9"/>
            <p:cNvSpPr>
              <a:spLocks/>
            </p:cNvSpPr>
            <p:nvPr/>
          </p:nvSpPr>
          <p:spPr bwMode="auto">
            <a:xfrm>
              <a:off x="-49164" y="-47003"/>
              <a:ext cx="7696089" cy="846767"/>
            </a:xfrm>
            <a:custGeom>
              <a:avLst/>
              <a:gdLst>
                <a:gd name="T0" fmla="*/ 0 w 4051"/>
                <a:gd name="T1" fmla="*/ 0 h 1363"/>
                <a:gd name="T2" fmla="*/ 0 w 4051"/>
                <a:gd name="T3" fmla="*/ 1363 h 1363"/>
                <a:gd name="T4" fmla="*/ 4051 w 4051"/>
                <a:gd name="T5" fmla="*/ 0 h 1363"/>
                <a:gd name="T6" fmla="*/ 0 w 4051"/>
                <a:gd name="T7" fmla="*/ 0 h 1363"/>
                <a:gd name="connsiteX0" fmla="*/ 6861 w 10000"/>
                <a:gd name="connsiteY0" fmla="*/ 0 h 10164"/>
                <a:gd name="connsiteX1" fmla="*/ 0 w 10000"/>
                <a:gd name="connsiteY1" fmla="*/ 10164 h 10164"/>
                <a:gd name="connsiteX2" fmla="*/ 10000 w 10000"/>
                <a:gd name="connsiteY2" fmla="*/ 164 h 10164"/>
                <a:gd name="connsiteX3" fmla="*/ 6861 w 10000"/>
                <a:gd name="connsiteY3" fmla="*/ 0 h 10164"/>
                <a:gd name="connsiteX0" fmla="*/ 18 w 3157"/>
                <a:gd name="connsiteY0" fmla="*/ 0 h 3312"/>
                <a:gd name="connsiteX1" fmla="*/ 0 w 3157"/>
                <a:gd name="connsiteY1" fmla="*/ 3312 h 3312"/>
                <a:gd name="connsiteX2" fmla="*/ 3157 w 3157"/>
                <a:gd name="connsiteY2" fmla="*/ 164 h 3312"/>
                <a:gd name="connsiteX3" fmla="*/ 18 w 3157"/>
                <a:gd name="connsiteY3" fmla="*/ 0 h 3312"/>
                <a:gd name="connsiteX0" fmla="*/ 57 w 10409"/>
                <a:gd name="connsiteY0" fmla="*/ 167 h 10167"/>
                <a:gd name="connsiteX1" fmla="*/ 0 w 10409"/>
                <a:gd name="connsiteY1" fmla="*/ 10167 h 10167"/>
                <a:gd name="connsiteX2" fmla="*/ 10409 w 10409"/>
                <a:gd name="connsiteY2" fmla="*/ 0 h 10167"/>
                <a:gd name="connsiteX3" fmla="*/ 57 w 10409"/>
                <a:gd name="connsiteY3" fmla="*/ 167 h 10167"/>
                <a:gd name="connsiteX0" fmla="*/ 181 w 10409"/>
                <a:gd name="connsiteY0" fmla="*/ 9 h 10269"/>
                <a:gd name="connsiteX1" fmla="*/ 0 w 10409"/>
                <a:gd name="connsiteY1" fmla="*/ 10269 h 10269"/>
                <a:gd name="connsiteX2" fmla="*/ 10409 w 10409"/>
                <a:gd name="connsiteY2" fmla="*/ 102 h 10269"/>
                <a:gd name="connsiteX3" fmla="*/ 181 w 10409"/>
                <a:gd name="connsiteY3" fmla="*/ 9 h 10269"/>
                <a:gd name="connsiteX0" fmla="*/ 3 w 10231"/>
                <a:gd name="connsiteY0" fmla="*/ 9 h 10269"/>
                <a:gd name="connsiteX1" fmla="*/ 46 w 10231"/>
                <a:gd name="connsiteY1" fmla="*/ 10269 h 10269"/>
                <a:gd name="connsiteX2" fmla="*/ 10231 w 10231"/>
                <a:gd name="connsiteY2" fmla="*/ 102 h 10269"/>
                <a:gd name="connsiteX3" fmla="*/ 3 w 10231"/>
                <a:gd name="connsiteY3" fmla="*/ 9 h 10269"/>
                <a:gd name="connsiteX0" fmla="*/ 0 w 10228"/>
                <a:gd name="connsiteY0" fmla="*/ 9 h 10269"/>
                <a:gd name="connsiteX1" fmla="*/ 43 w 10228"/>
                <a:gd name="connsiteY1" fmla="*/ 10269 h 10269"/>
                <a:gd name="connsiteX2" fmla="*/ 10228 w 10228"/>
                <a:gd name="connsiteY2" fmla="*/ 102 h 10269"/>
                <a:gd name="connsiteX3" fmla="*/ 0 w 10228"/>
                <a:gd name="connsiteY3" fmla="*/ 9 h 10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228" h="10269">
                  <a:moveTo>
                    <a:pt x="0" y="9"/>
                  </a:moveTo>
                  <a:cubicBezTo>
                    <a:pt x="56" y="10013"/>
                    <a:pt x="62" y="6936"/>
                    <a:pt x="43" y="10269"/>
                  </a:cubicBezTo>
                  <a:lnTo>
                    <a:pt x="10228" y="102"/>
                  </a:lnTo>
                  <a:cubicBezTo>
                    <a:pt x="6777" y="158"/>
                    <a:pt x="3451" y="-47"/>
                    <a:pt x="0" y="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112542" tIns="56271" rIns="112542" bIns="56271" numCol="1" anchor="t" anchorCtr="0" compatLnSpc="1">
              <a:prstTxWarp prst="textNoShape">
                <a:avLst/>
              </a:prstTxWarp>
            </a:bodyPr>
            <a:lstStyle/>
            <a:p>
              <a:endParaRPr lang="ru-RU" sz="1600"/>
            </a:p>
          </p:txBody>
        </p:sp>
        <p:sp>
          <p:nvSpPr>
            <p:cNvPr id="20" name="Freeform 6"/>
            <p:cNvSpPr>
              <a:spLocks/>
            </p:cNvSpPr>
            <p:nvPr/>
          </p:nvSpPr>
          <p:spPr bwMode="auto">
            <a:xfrm>
              <a:off x="-34838" y="-38715"/>
              <a:ext cx="8147061" cy="529742"/>
            </a:xfrm>
            <a:custGeom>
              <a:avLst/>
              <a:gdLst>
                <a:gd name="T0" fmla="*/ 0 w 5214"/>
                <a:gd name="T1" fmla="*/ 0 h 2191"/>
                <a:gd name="T2" fmla="*/ 0 w 5214"/>
                <a:gd name="T3" fmla="*/ 2191 h 2191"/>
                <a:gd name="T4" fmla="*/ 5214 w 5214"/>
                <a:gd name="T5" fmla="*/ 0 h 2191"/>
                <a:gd name="T6" fmla="*/ 0 w 5214"/>
                <a:gd name="T7" fmla="*/ 0 h 2191"/>
                <a:gd name="connsiteX0" fmla="*/ 0 w 10000"/>
                <a:gd name="connsiteY0" fmla="*/ 0 h 4612"/>
                <a:gd name="connsiteX1" fmla="*/ 5345 w 10000"/>
                <a:gd name="connsiteY1" fmla="*/ 4612 h 4612"/>
                <a:gd name="connsiteX2" fmla="*/ 10000 w 10000"/>
                <a:gd name="connsiteY2" fmla="*/ 0 h 4612"/>
                <a:gd name="connsiteX3" fmla="*/ 0 w 10000"/>
                <a:gd name="connsiteY3" fmla="*/ 0 h 4612"/>
                <a:gd name="connsiteX0" fmla="*/ 0 w 4684"/>
                <a:gd name="connsiteY0" fmla="*/ 74 h 10000"/>
                <a:gd name="connsiteX1" fmla="*/ 29 w 4684"/>
                <a:gd name="connsiteY1" fmla="*/ 10000 h 10000"/>
                <a:gd name="connsiteX2" fmla="*/ 4684 w 4684"/>
                <a:gd name="connsiteY2" fmla="*/ 0 h 10000"/>
                <a:gd name="connsiteX3" fmla="*/ 0 w 4684"/>
                <a:gd name="connsiteY3" fmla="*/ 74 h 10000"/>
                <a:gd name="connsiteX0" fmla="*/ 0 w 10000"/>
                <a:gd name="connsiteY0" fmla="*/ 74 h 9961"/>
                <a:gd name="connsiteX1" fmla="*/ 140 w 10000"/>
                <a:gd name="connsiteY1" fmla="*/ 9961 h 9961"/>
                <a:gd name="connsiteX2" fmla="*/ 10000 w 10000"/>
                <a:gd name="connsiteY2" fmla="*/ 0 h 9961"/>
                <a:gd name="connsiteX3" fmla="*/ 0 w 10000"/>
                <a:gd name="connsiteY3" fmla="*/ 74 h 9961"/>
                <a:gd name="connsiteX0" fmla="*/ 9 w 9866"/>
                <a:gd name="connsiteY0" fmla="*/ 0 h 10081"/>
                <a:gd name="connsiteX1" fmla="*/ 6 w 9866"/>
                <a:gd name="connsiteY1" fmla="*/ 10081 h 10081"/>
                <a:gd name="connsiteX2" fmla="*/ 9866 w 9866"/>
                <a:gd name="connsiteY2" fmla="*/ 81 h 10081"/>
                <a:gd name="connsiteX3" fmla="*/ 9 w 9866"/>
                <a:gd name="connsiteY3" fmla="*/ 0 h 10081"/>
                <a:gd name="connsiteX0" fmla="*/ 9 w 10000"/>
                <a:gd name="connsiteY0" fmla="*/ 36 h 9920"/>
                <a:gd name="connsiteX1" fmla="*/ 6 w 10000"/>
                <a:gd name="connsiteY1" fmla="*/ 9920 h 9920"/>
                <a:gd name="connsiteX2" fmla="*/ 10000 w 10000"/>
                <a:gd name="connsiteY2" fmla="*/ 0 h 9920"/>
                <a:gd name="connsiteX3" fmla="*/ 9 w 10000"/>
                <a:gd name="connsiteY3" fmla="*/ 36 h 9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000" h="9920">
                  <a:moveTo>
                    <a:pt x="9" y="36"/>
                  </a:moveTo>
                  <a:cubicBezTo>
                    <a:pt x="30" y="3331"/>
                    <a:pt x="-15" y="6625"/>
                    <a:pt x="6" y="9920"/>
                  </a:cubicBezTo>
                  <a:lnTo>
                    <a:pt x="10000" y="0"/>
                  </a:lnTo>
                  <a:lnTo>
                    <a:pt x="9" y="36"/>
                  </a:lnTo>
                  <a:close/>
                </a:path>
              </a:pathLst>
            </a:custGeom>
            <a:solidFill>
              <a:srgbClr val="B128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2542" tIns="56271" rIns="112542" bIns="56271" numCol="1" anchor="t" anchorCtr="0" compatLnSpc="1">
              <a:prstTxWarp prst="textNoShape">
                <a:avLst/>
              </a:prstTxWarp>
            </a:bodyPr>
            <a:lstStyle/>
            <a:p>
              <a:endParaRPr lang="ru-RU" sz="1600" dirty="0"/>
            </a:p>
          </p:txBody>
        </p:sp>
      </p:grpSp>
      <p:sp>
        <p:nvSpPr>
          <p:cNvPr id="46" name="Banderole Bottom"/>
          <p:cNvSpPr>
            <a:spLocks/>
          </p:cNvSpPr>
          <p:nvPr>
            <p:custDataLst>
              <p:tags r:id="rId1"/>
            </p:custDataLst>
          </p:nvPr>
        </p:nvSpPr>
        <p:spPr>
          <a:xfrm>
            <a:off x="0" y="6602400"/>
            <a:ext cx="12192000" cy="2556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600" b="0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87" name="Text Placeholder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902677" y="1996700"/>
            <a:ext cx="10505831" cy="1762021"/>
          </a:xfrm>
        </p:spPr>
        <p:txBody>
          <a:bodyPr>
            <a:spAutoFit/>
          </a:bodyPr>
          <a:lstStyle>
            <a:lvl1pPr>
              <a:defRPr/>
            </a:lvl1pPr>
            <a:lvl2pPr>
              <a:defRPr/>
            </a:lvl2pPr>
            <a:lvl3pPr>
              <a:spcBef>
                <a:spcPts val="492"/>
              </a:spcBef>
              <a:defRPr/>
            </a:lvl3pPr>
            <a:lvl4pPr>
              <a:defRPr/>
            </a:lvl4pPr>
          </a:lstStyle>
          <a:p>
            <a:pPr lvl="0"/>
            <a:r>
              <a:rPr lang="en-US" dirty="0"/>
              <a:t>Click to edit Master text styles – Level 0</a:t>
            </a:r>
          </a:p>
          <a:p>
            <a:pPr lvl="1"/>
            <a:r>
              <a:rPr lang="en-US" dirty="0"/>
              <a:t>Level 1</a:t>
            </a:r>
          </a:p>
          <a:p>
            <a:pPr lvl="2"/>
            <a:r>
              <a:rPr lang="en-US" dirty="0"/>
              <a:t>Level 2</a:t>
            </a:r>
          </a:p>
          <a:p>
            <a:pPr lvl="3"/>
            <a:r>
              <a:rPr lang="en-US" dirty="0"/>
              <a:t>Level 3</a:t>
            </a:r>
          </a:p>
        </p:txBody>
      </p:sp>
      <p:sp>
        <p:nvSpPr>
          <p:cNvPr id="43" name="Title 4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3" name="Slide Number"/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11416792" y="117967"/>
            <a:ext cx="5307862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900" b="0" smtClean="0"/>
            </a:lvl1pPr>
          </a:lstStyle>
          <a:p>
            <a:pPr marL="0" marR="0" lvl="0" indent="0" algn="l" defTabSz="112544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AA7B471-74A3-4F5F-8955-6C99E2375CAC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pPr marL="0" marR="0" lvl="0" indent="0" algn="l" defTabSz="112544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Группа 19"/>
          <p:cNvGrpSpPr/>
          <p:nvPr userDrawn="1"/>
        </p:nvGrpSpPr>
        <p:grpSpPr>
          <a:xfrm>
            <a:off x="-49164" y="-47003"/>
            <a:ext cx="12251487" cy="846767"/>
            <a:chOff x="-49164" y="-47003"/>
            <a:chExt cx="12251487" cy="846767"/>
          </a:xfrm>
        </p:grpSpPr>
        <p:sp>
          <p:nvSpPr>
            <p:cNvPr id="21" name="Freeform 8"/>
            <p:cNvSpPr>
              <a:spLocks/>
            </p:cNvSpPr>
            <p:nvPr/>
          </p:nvSpPr>
          <p:spPr bwMode="auto">
            <a:xfrm flipH="1">
              <a:off x="1775518" y="-47003"/>
              <a:ext cx="10426805" cy="606941"/>
            </a:xfrm>
            <a:custGeom>
              <a:avLst/>
              <a:gdLst>
                <a:gd name="T0" fmla="*/ 0 w 4406"/>
                <a:gd name="T1" fmla="*/ 0 h 1436"/>
                <a:gd name="T2" fmla="*/ 0 w 4406"/>
                <a:gd name="T3" fmla="*/ 1436 h 1436"/>
                <a:gd name="T4" fmla="*/ 4110 w 4406"/>
                <a:gd name="T5" fmla="*/ 405 h 1436"/>
                <a:gd name="T6" fmla="*/ 4406 w 4406"/>
                <a:gd name="T7" fmla="*/ 0 h 1436"/>
                <a:gd name="T8" fmla="*/ 0 w 4406"/>
                <a:gd name="T9" fmla="*/ 0 h 1436"/>
                <a:gd name="connsiteX0" fmla="*/ 0 w 10000"/>
                <a:gd name="connsiteY0" fmla="*/ 0 h 5109"/>
                <a:gd name="connsiteX1" fmla="*/ 6359 w 10000"/>
                <a:gd name="connsiteY1" fmla="*/ 5109 h 5109"/>
                <a:gd name="connsiteX2" fmla="*/ 9328 w 10000"/>
                <a:gd name="connsiteY2" fmla="*/ 2820 h 5109"/>
                <a:gd name="connsiteX3" fmla="*/ 10000 w 10000"/>
                <a:gd name="connsiteY3" fmla="*/ 0 h 5109"/>
                <a:gd name="connsiteX4" fmla="*/ 0 w 10000"/>
                <a:gd name="connsiteY4" fmla="*/ 0 h 5109"/>
                <a:gd name="connsiteX0" fmla="*/ 0 w 3709"/>
                <a:gd name="connsiteY0" fmla="*/ 306 h 10000"/>
                <a:gd name="connsiteX1" fmla="*/ 68 w 3709"/>
                <a:gd name="connsiteY1" fmla="*/ 10000 h 10000"/>
                <a:gd name="connsiteX2" fmla="*/ 3037 w 3709"/>
                <a:gd name="connsiteY2" fmla="*/ 5520 h 10000"/>
                <a:gd name="connsiteX3" fmla="*/ 3709 w 3709"/>
                <a:gd name="connsiteY3" fmla="*/ 0 h 10000"/>
                <a:gd name="connsiteX4" fmla="*/ 0 w 3709"/>
                <a:gd name="connsiteY4" fmla="*/ 306 h 10000"/>
                <a:gd name="connsiteX0" fmla="*/ 0 w 10000"/>
                <a:gd name="connsiteY0" fmla="*/ 306 h 9927"/>
                <a:gd name="connsiteX1" fmla="*/ 49 w 10000"/>
                <a:gd name="connsiteY1" fmla="*/ 9927 h 9927"/>
                <a:gd name="connsiteX2" fmla="*/ 8188 w 10000"/>
                <a:gd name="connsiteY2" fmla="*/ 5520 h 9927"/>
                <a:gd name="connsiteX3" fmla="*/ 10000 w 10000"/>
                <a:gd name="connsiteY3" fmla="*/ 0 h 9927"/>
                <a:gd name="connsiteX4" fmla="*/ 0 w 10000"/>
                <a:gd name="connsiteY4" fmla="*/ 306 h 9927"/>
                <a:gd name="connsiteX0" fmla="*/ 0 w 10000"/>
                <a:gd name="connsiteY0" fmla="*/ 308 h 10000"/>
                <a:gd name="connsiteX1" fmla="*/ 205 w 10000"/>
                <a:gd name="connsiteY1" fmla="*/ 10000 h 10000"/>
                <a:gd name="connsiteX2" fmla="*/ 8188 w 10000"/>
                <a:gd name="connsiteY2" fmla="*/ 5561 h 10000"/>
                <a:gd name="connsiteX3" fmla="*/ 10000 w 10000"/>
                <a:gd name="connsiteY3" fmla="*/ 0 h 10000"/>
                <a:gd name="connsiteX4" fmla="*/ 0 w 10000"/>
                <a:gd name="connsiteY4" fmla="*/ 308 h 10000"/>
                <a:gd name="connsiteX0" fmla="*/ 0 w 9864"/>
                <a:gd name="connsiteY0" fmla="*/ 40 h 10000"/>
                <a:gd name="connsiteX1" fmla="*/ 69 w 9864"/>
                <a:gd name="connsiteY1" fmla="*/ 10000 h 10000"/>
                <a:gd name="connsiteX2" fmla="*/ 8052 w 9864"/>
                <a:gd name="connsiteY2" fmla="*/ 5561 h 10000"/>
                <a:gd name="connsiteX3" fmla="*/ 9864 w 9864"/>
                <a:gd name="connsiteY3" fmla="*/ 0 h 10000"/>
                <a:gd name="connsiteX4" fmla="*/ 0 w 9864"/>
                <a:gd name="connsiteY4" fmla="*/ 40 h 10000"/>
                <a:gd name="connsiteX0" fmla="*/ 9 w 9950"/>
                <a:gd name="connsiteY0" fmla="*/ 40 h 10000"/>
                <a:gd name="connsiteX1" fmla="*/ 20 w 9950"/>
                <a:gd name="connsiteY1" fmla="*/ 10000 h 10000"/>
                <a:gd name="connsiteX2" fmla="*/ 8113 w 9950"/>
                <a:gd name="connsiteY2" fmla="*/ 5561 h 10000"/>
                <a:gd name="connsiteX3" fmla="*/ 9950 w 9950"/>
                <a:gd name="connsiteY3" fmla="*/ 0 h 10000"/>
                <a:gd name="connsiteX4" fmla="*/ 9 w 9950"/>
                <a:gd name="connsiteY4" fmla="*/ 40 h 10000"/>
                <a:gd name="connsiteX0" fmla="*/ 19 w 10010"/>
                <a:gd name="connsiteY0" fmla="*/ 40 h 10000"/>
                <a:gd name="connsiteX1" fmla="*/ 30 w 10010"/>
                <a:gd name="connsiteY1" fmla="*/ 10000 h 10000"/>
                <a:gd name="connsiteX2" fmla="*/ 8164 w 10010"/>
                <a:gd name="connsiteY2" fmla="*/ 5561 h 10000"/>
                <a:gd name="connsiteX3" fmla="*/ 10010 w 10010"/>
                <a:gd name="connsiteY3" fmla="*/ 0 h 10000"/>
                <a:gd name="connsiteX4" fmla="*/ 19 w 10010"/>
                <a:gd name="connsiteY4" fmla="*/ 40 h 10000"/>
                <a:gd name="connsiteX0" fmla="*/ 0 w 9991"/>
                <a:gd name="connsiteY0" fmla="*/ 40 h 10000"/>
                <a:gd name="connsiteX1" fmla="*/ 11 w 9991"/>
                <a:gd name="connsiteY1" fmla="*/ 10000 h 10000"/>
                <a:gd name="connsiteX2" fmla="*/ 8145 w 9991"/>
                <a:gd name="connsiteY2" fmla="*/ 5561 h 10000"/>
                <a:gd name="connsiteX3" fmla="*/ 9991 w 9991"/>
                <a:gd name="connsiteY3" fmla="*/ 0 h 10000"/>
                <a:gd name="connsiteX4" fmla="*/ 0 w 9991"/>
                <a:gd name="connsiteY4" fmla="*/ 40 h 10000"/>
                <a:gd name="connsiteX0" fmla="*/ 11 w 10011"/>
                <a:gd name="connsiteY0" fmla="*/ 40 h 10188"/>
                <a:gd name="connsiteX1" fmla="*/ 0 w 10011"/>
                <a:gd name="connsiteY1" fmla="*/ 10188 h 10188"/>
                <a:gd name="connsiteX2" fmla="*/ 8163 w 10011"/>
                <a:gd name="connsiteY2" fmla="*/ 5561 h 10188"/>
                <a:gd name="connsiteX3" fmla="*/ 10011 w 10011"/>
                <a:gd name="connsiteY3" fmla="*/ 0 h 10188"/>
                <a:gd name="connsiteX4" fmla="*/ 11 w 10011"/>
                <a:gd name="connsiteY4" fmla="*/ 40 h 101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11" h="10188">
                  <a:moveTo>
                    <a:pt x="11" y="40"/>
                  </a:moveTo>
                  <a:cubicBezTo>
                    <a:pt x="15" y="3295"/>
                    <a:pt x="2" y="6839"/>
                    <a:pt x="0" y="10188"/>
                  </a:cubicBezTo>
                  <a:lnTo>
                    <a:pt x="8163" y="5561"/>
                  </a:lnTo>
                  <a:lnTo>
                    <a:pt x="10011" y="0"/>
                  </a:lnTo>
                  <a:lnTo>
                    <a:pt x="11" y="40"/>
                  </a:lnTo>
                  <a:close/>
                </a:path>
              </a:pathLst>
            </a:custGeom>
            <a:solidFill>
              <a:srgbClr val="2C41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2542" tIns="56271" rIns="112542" bIns="56271" numCol="1" anchor="t" anchorCtr="0" compatLnSpc="1">
              <a:prstTxWarp prst="textNoShape">
                <a:avLst/>
              </a:prstTxWarp>
            </a:bodyPr>
            <a:lstStyle/>
            <a:p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22" name="Freeform 6"/>
            <p:cNvSpPr>
              <a:spLocks/>
            </p:cNvSpPr>
            <p:nvPr userDrawn="1"/>
          </p:nvSpPr>
          <p:spPr bwMode="auto">
            <a:xfrm>
              <a:off x="-34838" y="-38715"/>
              <a:ext cx="9011158" cy="801026"/>
            </a:xfrm>
            <a:custGeom>
              <a:avLst/>
              <a:gdLst>
                <a:gd name="T0" fmla="*/ 0 w 5214"/>
                <a:gd name="T1" fmla="*/ 0 h 2191"/>
                <a:gd name="T2" fmla="*/ 0 w 5214"/>
                <a:gd name="T3" fmla="*/ 2191 h 2191"/>
                <a:gd name="T4" fmla="*/ 5214 w 5214"/>
                <a:gd name="T5" fmla="*/ 0 h 2191"/>
                <a:gd name="T6" fmla="*/ 0 w 5214"/>
                <a:gd name="T7" fmla="*/ 0 h 2191"/>
                <a:gd name="connsiteX0" fmla="*/ 0 w 10000"/>
                <a:gd name="connsiteY0" fmla="*/ 0 h 4612"/>
                <a:gd name="connsiteX1" fmla="*/ 5345 w 10000"/>
                <a:gd name="connsiteY1" fmla="*/ 4612 h 4612"/>
                <a:gd name="connsiteX2" fmla="*/ 10000 w 10000"/>
                <a:gd name="connsiteY2" fmla="*/ 0 h 4612"/>
                <a:gd name="connsiteX3" fmla="*/ 0 w 10000"/>
                <a:gd name="connsiteY3" fmla="*/ 0 h 4612"/>
                <a:gd name="connsiteX0" fmla="*/ 0 w 4684"/>
                <a:gd name="connsiteY0" fmla="*/ 74 h 10000"/>
                <a:gd name="connsiteX1" fmla="*/ 29 w 4684"/>
                <a:gd name="connsiteY1" fmla="*/ 10000 h 10000"/>
                <a:gd name="connsiteX2" fmla="*/ 4684 w 4684"/>
                <a:gd name="connsiteY2" fmla="*/ 0 h 10000"/>
                <a:gd name="connsiteX3" fmla="*/ 0 w 4684"/>
                <a:gd name="connsiteY3" fmla="*/ 74 h 10000"/>
                <a:gd name="connsiteX0" fmla="*/ 0 w 10000"/>
                <a:gd name="connsiteY0" fmla="*/ 74 h 9961"/>
                <a:gd name="connsiteX1" fmla="*/ 140 w 10000"/>
                <a:gd name="connsiteY1" fmla="*/ 9961 h 9961"/>
                <a:gd name="connsiteX2" fmla="*/ 10000 w 10000"/>
                <a:gd name="connsiteY2" fmla="*/ 0 h 9961"/>
                <a:gd name="connsiteX3" fmla="*/ 0 w 10000"/>
                <a:gd name="connsiteY3" fmla="*/ 74 h 9961"/>
                <a:gd name="connsiteX0" fmla="*/ 9 w 9866"/>
                <a:gd name="connsiteY0" fmla="*/ 0 h 10081"/>
                <a:gd name="connsiteX1" fmla="*/ 6 w 9866"/>
                <a:gd name="connsiteY1" fmla="*/ 10081 h 10081"/>
                <a:gd name="connsiteX2" fmla="*/ 9866 w 9866"/>
                <a:gd name="connsiteY2" fmla="*/ 81 h 10081"/>
                <a:gd name="connsiteX3" fmla="*/ 9 w 9866"/>
                <a:gd name="connsiteY3" fmla="*/ 0 h 10081"/>
                <a:gd name="connsiteX0" fmla="*/ 9 w 10000"/>
                <a:gd name="connsiteY0" fmla="*/ 36 h 9920"/>
                <a:gd name="connsiteX1" fmla="*/ 6 w 10000"/>
                <a:gd name="connsiteY1" fmla="*/ 9920 h 9920"/>
                <a:gd name="connsiteX2" fmla="*/ 10000 w 10000"/>
                <a:gd name="connsiteY2" fmla="*/ 0 h 9920"/>
                <a:gd name="connsiteX3" fmla="*/ 9 w 10000"/>
                <a:gd name="connsiteY3" fmla="*/ 36 h 9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000" h="9920">
                  <a:moveTo>
                    <a:pt x="9" y="36"/>
                  </a:moveTo>
                  <a:cubicBezTo>
                    <a:pt x="30" y="3331"/>
                    <a:pt x="-15" y="6625"/>
                    <a:pt x="6" y="9920"/>
                  </a:cubicBezTo>
                  <a:lnTo>
                    <a:pt x="10000" y="0"/>
                  </a:lnTo>
                  <a:lnTo>
                    <a:pt x="9" y="3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112542" tIns="56271" rIns="112542" bIns="56271" numCol="1" anchor="t" anchorCtr="0" compatLnSpc="1">
              <a:prstTxWarp prst="textNoShape">
                <a:avLst/>
              </a:prstTxWarp>
            </a:bodyPr>
            <a:lstStyle/>
            <a:p>
              <a:endParaRPr lang="ru-RU" sz="1600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9"/>
            <p:cNvSpPr>
              <a:spLocks/>
            </p:cNvSpPr>
            <p:nvPr/>
          </p:nvSpPr>
          <p:spPr bwMode="auto">
            <a:xfrm>
              <a:off x="-49164" y="-47003"/>
              <a:ext cx="7696089" cy="846767"/>
            </a:xfrm>
            <a:custGeom>
              <a:avLst/>
              <a:gdLst>
                <a:gd name="T0" fmla="*/ 0 w 4051"/>
                <a:gd name="T1" fmla="*/ 0 h 1363"/>
                <a:gd name="T2" fmla="*/ 0 w 4051"/>
                <a:gd name="T3" fmla="*/ 1363 h 1363"/>
                <a:gd name="T4" fmla="*/ 4051 w 4051"/>
                <a:gd name="T5" fmla="*/ 0 h 1363"/>
                <a:gd name="T6" fmla="*/ 0 w 4051"/>
                <a:gd name="T7" fmla="*/ 0 h 1363"/>
                <a:gd name="connsiteX0" fmla="*/ 6861 w 10000"/>
                <a:gd name="connsiteY0" fmla="*/ 0 h 10164"/>
                <a:gd name="connsiteX1" fmla="*/ 0 w 10000"/>
                <a:gd name="connsiteY1" fmla="*/ 10164 h 10164"/>
                <a:gd name="connsiteX2" fmla="*/ 10000 w 10000"/>
                <a:gd name="connsiteY2" fmla="*/ 164 h 10164"/>
                <a:gd name="connsiteX3" fmla="*/ 6861 w 10000"/>
                <a:gd name="connsiteY3" fmla="*/ 0 h 10164"/>
                <a:gd name="connsiteX0" fmla="*/ 18 w 3157"/>
                <a:gd name="connsiteY0" fmla="*/ 0 h 3312"/>
                <a:gd name="connsiteX1" fmla="*/ 0 w 3157"/>
                <a:gd name="connsiteY1" fmla="*/ 3312 h 3312"/>
                <a:gd name="connsiteX2" fmla="*/ 3157 w 3157"/>
                <a:gd name="connsiteY2" fmla="*/ 164 h 3312"/>
                <a:gd name="connsiteX3" fmla="*/ 18 w 3157"/>
                <a:gd name="connsiteY3" fmla="*/ 0 h 3312"/>
                <a:gd name="connsiteX0" fmla="*/ 57 w 10409"/>
                <a:gd name="connsiteY0" fmla="*/ 167 h 10167"/>
                <a:gd name="connsiteX1" fmla="*/ 0 w 10409"/>
                <a:gd name="connsiteY1" fmla="*/ 10167 h 10167"/>
                <a:gd name="connsiteX2" fmla="*/ 10409 w 10409"/>
                <a:gd name="connsiteY2" fmla="*/ 0 h 10167"/>
                <a:gd name="connsiteX3" fmla="*/ 57 w 10409"/>
                <a:gd name="connsiteY3" fmla="*/ 167 h 10167"/>
                <a:gd name="connsiteX0" fmla="*/ 181 w 10409"/>
                <a:gd name="connsiteY0" fmla="*/ 9 h 10269"/>
                <a:gd name="connsiteX1" fmla="*/ 0 w 10409"/>
                <a:gd name="connsiteY1" fmla="*/ 10269 h 10269"/>
                <a:gd name="connsiteX2" fmla="*/ 10409 w 10409"/>
                <a:gd name="connsiteY2" fmla="*/ 102 h 10269"/>
                <a:gd name="connsiteX3" fmla="*/ 181 w 10409"/>
                <a:gd name="connsiteY3" fmla="*/ 9 h 10269"/>
                <a:gd name="connsiteX0" fmla="*/ 3 w 10231"/>
                <a:gd name="connsiteY0" fmla="*/ 9 h 10269"/>
                <a:gd name="connsiteX1" fmla="*/ 46 w 10231"/>
                <a:gd name="connsiteY1" fmla="*/ 10269 h 10269"/>
                <a:gd name="connsiteX2" fmla="*/ 10231 w 10231"/>
                <a:gd name="connsiteY2" fmla="*/ 102 h 10269"/>
                <a:gd name="connsiteX3" fmla="*/ 3 w 10231"/>
                <a:gd name="connsiteY3" fmla="*/ 9 h 10269"/>
                <a:gd name="connsiteX0" fmla="*/ 0 w 10228"/>
                <a:gd name="connsiteY0" fmla="*/ 9 h 10269"/>
                <a:gd name="connsiteX1" fmla="*/ 43 w 10228"/>
                <a:gd name="connsiteY1" fmla="*/ 10269 h 10269"/>
                <a:gd name="connsiteX2" fmla="*/ 10228 w 10228"/>
                <a:gd name="connsiteY2" fmla="*/ 102 h 10269"/>
                <a:gd name="connsiteX3" fmla="*/ 0 w 10228"/>
                <a:gd name="connsiteY3" fmla="*/ 9 h 10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228" h="10269">
                  <a:moveTo>
                    <a:pt x="0" y="9"/>
                  </a:moveTo>
                  <a:cubicBezTo>
                    <a:pt x="56" y="10013"/>
                    <a:pt x="62" y="6936"/>
                    <a:pt x="43" y="10269"/>
                  </a:cubicBezTo>
                  <a:lnTo>
                    <a:pt x="10228" y="102"/>
                  </a:lnTo>
                  <a:cubicBezTo>
                    <a:pt x="6777" y="158"/>
                    <a:pt x="3451" y="-47"/>
                    <a:pt x="0" y="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112542" tIns="56271" rIns="112542" bIns="56271" numCol="1" anchor="t" anchorCtr="0" compatLnSpc="1">
              <a:prstTxWarp prst="textNoShape">
                <a:avLst/>
              </a:prstTxWarp>
            </a:bodyPr>
            <a:lstStyle/>
            <a:p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24" name="Freeform 6"/>
            <p:cNvSpPr>
              <a:spLocks/>
            </p:cNvSpPr>
            <p:nvPr/>
          </p:nvSpPr>
          <p:spPr bwMode="auto">
            <a:xfrm>
              <a:off x="-34838" y="-38715"/>
              <a:ext cx="8147061" cy="529742"/>
            </a:xfrm>
            <a:custGeom>
              <a:avLst/>
              <a:gdLst>
                <a:gd name="T0" fmla="*/ 0 w 5214"/>
                <a:gd name="T1" fmla="*/ 0 h 2191"/>
                <a:gd name="T2" fmla="*/ 0 w 5214"/>
                <a:gd name="T3" fmla="*/ 2191 h 2191"/>
                <a:gd name="T4" fmla="*/ 5214 w 5214"/>
                <a:gd name="T5" fmla="*/ 0 h 2191"/>
                <a:gd name="T6" fmla="*/ 0 w 5214"/>
                <a:gd name="T7" fmla="*/ 0 h 2191"/>
                <a:gd name="connsiteX0" fmla="*/ 0 w 10000"/>
                <a:gd name="connsiteY0" fmla="*/ 0 h 4612"/>
                <a:gd name="connsiteX1" fmla="*/ 5345 w 10000"/>
                <a:gd name="connsiteY1" fmla="*/ 4612 h 4612"/>
                <a:gd name="connsiteX2" fmla="*/ 10000 w 10000"/>
                <a:gd name="connsiteY2" fmla="*/ 0 h 4612"/>
                <a:gd name="connsiteX3" fmla="*/ 0 w 10000"/>
                <a:gd name="connsiteY3" fmla="*/ 0 h 4612"/>
                <a:gd name="connsiteX0" fmla="*/ 0 w 4684"/>
                <a:gd name="connsiteY0" fmla="*/ 74 h 10000"/>
                <a:gd name="connsiteX1" fmla="*/ 29 w 4684"/>
                <a:gd name="connsiteY1" fmla="*/ 10000 h 10000"/>
                <a:gd name="connsiteX2" fmla="*/ 4684 w 4684"/>
                <a:gd name="connsiteY2" fmla="*/ 0 h 10000"/>
                <a:gd name="connsiteX3" fmla="*/ 0 w 4684"/>
                <a:gd name="connsiteY3" fmla="*/ 74 h 10000"/>
                <a:gd name="connsiteX0" fmla="*/ 0 w 10000"/>
                <a:gd name="connsiteY0" fmla="*/ 74 h 9961"/>
                <a:gd name="connsiteX1" fmla="*/ 140 w 10000"/>
                <a:gd name="connsiteY1" fmla="*/ 9961 h 9961"/>
                <a:gd name="connsiteX2" fmla="*/ 10000 w 10000"/>
                <a:gd name="connsiteY2" fmla="*/ 0 h 9961"/>
                <a:gd name="connsiteX3" fmla="*/ 0 w 10000"/>
                <a:gd name="connsiteY3" fmla="*/ 74 h 9961"/>
                <a:gd name="connsiteX0" fmla="*/ 9 w 9866"/>
                <a:gd name="connsiteY0" fmla="*/ 0 h 10081"/>
                <a:gd name="connsiteX1" fmla="*/ 6 w 9866"/>
                <a:gd name="connsiteY1" fmla="*/ 10081 h 10081"/>
                <a:gd name="connsiteX2" fmla="*/ 9866 w 9866"/>
                <a:gd name="connsiteY2" fmla="*/ 81 h 10081"/>
                <a:gd name="connsiteX3" fmla="*/ 9 w 9866"/>
                <a:gd name="connsiteY3" fmla="*/ 0 h 10081"/>
                <a:gd name="connsiteX0" fmla="*/ 9 w 10000"/>
                <a:gd name="connsiteY0" fmla="*/ 36 h 9920"/>
                <a:gd name="connsiteX1" fmla="*/ 6 w 10000"/>
                <a:gd name="connsiteY1" fmla="*/ 9920 h 9920"/>
                <a:gd name="connsiteX2" fmla="*/ 10000 w 10000"/>
                <a:gd name="connsiteY2" fmla="*/ 0 h 9920"/>
                <a:gd name="connsiteX3" fmla="*/ 9 w 10000"/>
                <a:gd name="connsiteY3" fmla="*/ 36 h 9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000" h="9920">
                  <a:moveTo>
                    <a:pt x="9" y="36"/>
                  </a:moveTo>
                  <a:cubicBezTo>
                    <a:pt x="30" y="3331"/>
                    <a:pt x="-15" y="6625"/>
                    <a:pt x="6" y="9920"/>
                  </a:cubicBezTo>
                  <a:lnTo>
                    <a:pt x="10000" y="0"/>
                  </a:lnTo>
                  <a:lnTo>
                    <a:pt x="9" y="36"/>
                  </a:lnTo>
                  <a:close/>
                </a:path>
              </a:pathLst>
            </a:custGeom>
            <a:solidFill>
              <a:srgbClr val="B128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2542" tIns="56271" rIns="112542" bIns="56271" numCol="1" anchor="t" anchorCtr="0" compatLnSpc="1">
              <a:prstTxWarp prst="textNoShape">
                <a:avLst/>
              </a:prstTxWarp>
            </a:bodyPr>
            <a:lstStyle/>
            <a:p>
              <a:endParaRPr lang="ru-RU" sz="1600" dirty="0">
                <a:solidFill>
                  <a:prstClr val="black"/>
                </a:solidFill>
              </a:endParaRPr>
            </a:p>
          </p:txBody>
        </p:sp>
      </p:grpSp>
      <p:sp>
        <p:nvSpPr>
          <p:cNvPr id="10" name="Banderole Bottom"/>
          <p:cNvSpPr>
            <a:spLocks/>
          </p:cNvSpPr>
          <p:nvPr>
            <p:custDataLst>
              <p:tags r:id="rId1"/>
            </p:custDataLst>
          </p:nvPr>
        </p:nvSpPr>
        <p:spPr>
          <a:xfrm>
            <a:off x="0" y="6602401"/>
            <a:ext cx="12192000" cy="263283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600" b="0" dirty="0" smtClean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84" name="Title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902677" y="856801"/>
            <a:ext cx="10505831" cy="773999"/>
          </a:xfrm>
        </p:spPr>
        <p:txBody>
          <a:bodyPr>
            <a:noAutofit/>
          </a:bodyPr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25" name="Slide Number"/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11416792" y="117967"/>
            <a:ext cx="5307862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900" b="0" smtClean="0"/>
            </a:lvl1pPr>
          </a:lstStyle>
          <a:p>
            <a:pPr defTabSz="1125444">
              <a:defRPr/>
            </a:pPr>
            <a:fld id="{7AA7B471-74A3-4F5F-8955-6C99E2375CAC}" type="slidenum">
              <a:rPr lang="en-US" sz="1800">
                <a:solidFill>
                  <a:prstClr val="white"/>
                </a:solidFill>
                <a:latin typeface="Arial Narrow"/>
                <a:cs typeface="Arial" pitchFamily="34" charset="0"/>
              </a:rPr>
              <a:pPr defTabSz="1125444">
                <a:defRPr/>
              </a:pPr>
              <a:t>‹#›</a:t>
            </a:fld>
            <a:endParaRPr lang="en-US" sz="1800" dirty="0">
              <a:solidFill>
                <a:prstClr val="white"/>
              </a:solidFill>
              <a:latin typeface="Arial Narrow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1744087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nderole Bottom"/>
          <p:cNvSpPr>
            <a:spLocks/>
          </p:cNvSpPr>
          <p:nvPr>
            <p:custDataLst>
              <p:tags r:id="rId1"/>
            </p:custDataLst>
          </p:nvPr>
        </p:nvSpPr>
        <p:spPr>
          <a:xfrm>
            <a:off x="0" y="6602401"/>
            <a:ext cx="12192000" cy="263283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600" b="0" dirty="0" smtClean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8" name="Slide Number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11708432" y="164667"/>
            <a:ext cx="530786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900" b="0" smtClean="0"/>
            </a:lvl1pPr>
          </a:lstStyle>
          <a:p>
            <a:pPr defTabSz="1125444">
              <a:defRPr/>
            </a:pPr>
            <a:fld id="{7AA7B471-74A3-4F5F-8955-6C99E2375CAC}" type="slidenum">
              <a:rPr lang="en-US" sz="1400">
                <a:solidFill>
                  <a:prstClr val="white">
                    <a:lumMod val="50000"/>
                  </a:prstClr>
                </a:solidFill>
                <a:latin typeface="Arial Narrow"/>
                <a:cs typeface="Arial" pitchFamily="34" charset="0"/>
              </a:rPr>
              <a:pPr defTabSz="1125444">
                <a:defRPr/>
              </a:pPr>
              <a:t>‹#›</a:t>
            </a:fld>
            <a:endParaRPr lang="en-US" sz="1400" dirty="0">
              <a:solidFill>
                <a:prstClr val="white">
                  <a:lumMod val="50000"/>
                </a:prstClr>
              </a:solidFill>
              <a:latin typeface="Arial Narrow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1084447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Location, date"/>
          <p:cNvSpPr>
            <a:spLocks noGrp="1"/>
          </p:cNvSpPr>
          <p:nvPr>
            <p:ph type="body" sz="quarter" idx="14" hasCustomPrompt="1"/>
            <p:custDataLst>
              <p:tags r:id="rId1"/>
            </p:custDataLst>
          </p:nvPr>
        </p:nvSpPr>
        <p:spPr>
          <a:xfrm>
            <a:off x="1444431" y="6066000"/>
            <a:ext cx="9441968" cy="370800"/>
          </a:xfrm>
        </p:spPr>
        <p:txBody>
          <a:bodyPr vert="horz" wrap="square" lIns="28800" tIns="0" rIns="0" bIns="0" rtlCol="0" anchor="b" anchorCtr="0">
            <a:noAutofit/>
          </a:bodyPr>
          <a:lstStyle>
            <a:lvl1pPr marL="0" indent="0">
              <a:lnSpc>
                <a:spcPct val="93000"/>
              </a:lnSpc>
              <a:spcBef>
                <a:spcPts val="0"/>
              </a:spcBef>
              <a:defRPr kumimoji="0" lang="en-US" sz="2092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defRPr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marL="0" marR="0" lvl="0" indent="0" algn="l" defTabSz="1125444" rtl="0" eaLnBrk="1" fontAlgn="auto" latinLnBrk="0" hangingPunct="1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cation, date of presentation (month, day, year)</a:t>
            </a:r>
            <a:endParaRPr lang="en-US" dirty="0"/>
          </a:p>
        </p:txBody>
      </p:sp>
      <p:sp>
        <p:nvSpPr>
          <p:cNvPr id="5" name="Type of document"/>
          <p:cNvSpPr>
            <a:spLocks noGrp="1"/>
          </p:cNvSpPr>
          <p:nvPr>
            <p:ph type="body" sz="quarter" idx="15" hasCustomPrompt="1"/>
            <p:custDataLst>
              <p:tags r:id="rId2"/>
            </p:custDataLst>
          </p:nvPr>
        </p:nvSpPr>
        <p:spPr>
          <a:xfrm>
            <a:off x="1444431" y="4566721"/>
            <a:ext cx="9441968" cy="799487"/>
          </a:xfrm>
        </p:spPr>
        <p:txBody>
          <a:bodyPr vert="horz" lIns="14400" tIns="0" rIns="0" bIns="216000" rtlCol="0" anchor="t" anchorCtr="0">
            <a:spAutoFit/>
          </a:bodyPr>
          <a:lstStyle>
            <a:lvl1pPr marL="0" indent="0">
              <a:lnSpc>
                <a:spcPct val="93000"/>
              </a:lnSpc>
              <a:spcBef>
                <a:spcPts val="0"/>
              </a:spcBef>
              <a:defRPr kumimoji="0" lang="en-US" sz="4062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1125444" rtl="0" eaLnBrk="1" fontAlgn="auto" latinLnBrk="0" hangingPunct="1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Type of document</a:t>
            </a:r>
            <a:endParaRPr lang="en-US" dirty="0"/>
          </a:p>
        </p:txBody>
      </p:sp>
      <p:sp>
        <p:nvSpPr>
          <p:cNvPr id="6" name="Project name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444431" y="3498550"/>
            <a:ext cx="9441968" cy="1003801"/>
          </a:xfrm>
        </p:spPr>
        <p:txBody>
          <a:bodyPr vert="horz" lIns="0" tIns="0" rIns="0" bIns="0" rtlCol="0" anchor="b" anchorCtr="0">
            <a:spAutoFit/>
          </a:bodyPr>
          <a:lstStyle>
            <a:lvl1pPr algn="l">
              <a:lnSpc>
                <a:spcPct val="93000"/>
              </a:lnSpc>
              <a:spcBef>
                <a:spcPts val="0"/>
              </a:spcBef>
              <a:defRPr kumimoji="0" lang="en-US" sz="6523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11254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Title</a:t>
            </a:r>
            <a:endParaRPr lang="en-US" dirty="0"/>
          </a:p>
        </p:txBody>
      </p:sp>
      <p:sp>
        <p:nvSpPr>
          <p:cNvPr id="14" name="Slide Number"/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11708432" y="164667"/>
            <a:ext cx="5307862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900" b="0" smtClean="0"/>
            </a:lvl1pPr>
          </a:lstStyle>
          <a:p>
            <a:pPr defTabSz="1125444">
              <a:defRPr/>
            </a:pPr>
            <a:fld id="{7AA7B471-74A3-4F5F-8955-6C99E2375CAC}" type="slidenum">
              <a:rPr lang="en-US" sz="1800">
                <a:solidFill>
                  <a:prstClr val="white">
                    <a:lumMod val="50000"/>
                  </a:prstClr>
                </a:solidFill>
                <a:latin typeface="Arial Narrow"/>
                <a:cs typeface="Arial" pitchFamily="34" charset="0"/>
              </a:rPr>
              <a:pPr defTabSz="1125444">
                <a:defRPr/>
              </a:pPr>
              <a:t>‹#›</a:t>
            </a:fld>
            <a:endParaRPr lang="en-US" sz="1800" dirty="0">
              <a:solidFill>
                <a:prstClr val="white">
                  <a:lumMod val="50000"/>
                </a:prstClr>
              </a:solidFill>
              <a:latin typeface="Arial Narrow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8308491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Группа 29"/>
          <p:cNvGrpSpPr/>
          <p:nvPr userDrawn="1"/>
        </p:nvGrpSpPr>
        <p:grpSpPr>
          <a:xfrm>
            <a:off x="-49164" y="-47003"/>
            <a:ext cx="12251487" cy="846767"/>
            <a:chOff x="-49164" y="-47003"/>
            <a:chExt cx="12251487" cy="846767"/>
          </a:xfrm>
        </p:grpSpPr>
        <p:sp>
          <p:nvSpPr>
            <p:cNvPr id="31" name="Freeform 8"/>
            <p:cNvSpPr>
              <a:spLocks/>
            </p:cNvSpPr>
            <p:nvPr/>
          </p:nvSpPr>
          <p:spPr bwMode="auto">
            <a:xfrm flipH="1">
              <a:off x="1775518" y="-47003"/>
              <a:ext cx="10426805" cy="606941"/>
            </a:xfrm>
            <a:custGeom>
              <a:avLst/>
              <a:gdLst>
                <a:gd name="T0" fmla="*/ 0 w 4406"/>
                <a:gd name="T1" fmla="*/ 0 h 1436"/>
                <a:gd name="T2" fmla="*/ 0 w 4406"/>
                <a:gd name="T3" fmla="*/ 1436 h 1436"/>
                <a:gd name="T4" fmla="*/ 4110 w 4406"/>
                <a:gd name="T5" fmla="*/ 405 h 1436"/>
                <a:gd name="T6" fmla="*/ 4406 w 4406"/>
                <a:gd name="T7" fmla="*/ 0 h 1436"/>
                <a:gd name="T8" fmla="*/ 0 w 4406"/>
                <a:gd name="T9" fmla="*/ 0 h 1436"/>
                <a:gd name="connsiteX0" fmla="*/ 0 w 10000"/>
                <a:gd name="connsiteY0" fmla="*/ 0 h 5109"/>
                <a:gd name="connsiteX1" fmla="*/ 6359 w 10000"/>
                <a:gd name="connsiteY1" fmla="*/ 5109 h 5109"/>
                <a:gd name="connsiteX2" fmla="*/ 9328 w 10000"/>
                <a:gd name="connsiteY2" fmla="*/ 2820 h 5109"/>
                <a:gd name="connsiteX3" fmla="*/ 10000 w 10000"/>
                <a:gd name="connsiteY3" fmla="*/ 0 h 5109"/>
                <a:gd name="connsiteX4" fmla="*/ 0 w 10000"/>
                <a:gd name="connsiteY4" fmla="*/ 0 h 5109"/>
                <a:gd name="connsiteX0" fmla="*/ 0 w 3709"/>
                <a:gd name="connsiteY0" fmla="*/ 306 h 10000"/>
                <a:gd name="connsiteX1" fmla="*/ 68 w 3709"/>
                <a:gd name="connsiteY1" fmla="*/ 10000 h 10000"/>
                <a:gd name="connsiteX2" fmla="*/ 3037 w 3709"/>
                <a:gd name="connsiteY2" fmla="*/ 5520 h 10000"/>
                <a:gd name="connsiteX3" fmla="*/ 3709 w 3709"/>
                <a:gd name="connsiteY3" fmla="*/ 0 h 10000"/>
                <a:gd name="connsiteX4" fmla="*/ 0 w 3709"/>
                <a:gd name="connsiteY4" fmla="*/ 306 h 10000"/>
                <a:gd name="connsiteX0" fmla="*/ 0 w 10000"/>
                <a:gd name="connsiteY0" fmla="*/ 306 h 9927"/>
                <a:gd name="connsiteX1" fmla="*/ 49 w 10000"/>
                <a:gd name="connsiteY1" fmla="*/ 9927 h 9927"/>
                <a:gd name="connsiteX2" fmla="*/ 8188 w 10000"/>
                <a:gd name="connsiteY2" fmla="*/ 5520 h 9927"/>
                <a:gd name="connsiteX3" fmla="*/ 10000 w 10000"/>
                <a:gd name="connsiteY3" fmla="*/ 0 h 9927"/>
                <a:gd name="connsiteX4" fmla="*/ 0 w 10000"/>
                <a:gd name="connsiteY4" fmla="*/ 306 h 9927"/>
                <a:gd name="connsiteX0" fmla="*/ 0 w 10000"/>
                <a:gd name="connsiteY0" fmla="*/ 308 h 10000"/>
                <a:gd name="connsiteX1" fmla="*/ 205 w 10000"/>
                <a:gd name="connsiteY1" fmla="*/ 10000 h 10000"/>
                <a:gd name="connsiteX2" fmla="*/ 8188 w 10000"/>
                <a:gd name="connsiteY2" fmla="*/ 5561 h 10000"/>
                <a:gd name="connsiteX3" fmla="*/ 10000 w 10000"/>
                <a:gd name="connsiteY3" fmla="*/ 0 h 10000"/>
                <a:gd name="connsiteX4" fmla="*/ 0 w 10000"/>
                <a:gd name="connsiteY4" fmla="*/ 308 h 10000"/>
                <a:gd name="connsiteX0" fmla="*/ 0 w 9864"/>
                <a:gd name="connsiteY0" fmla="*/ 40 h 10000"/>
                <a:gd name="connsiteX1" fmla="*/ 69 w 9864"/>
                <a:gd name="connsiteY1" fmla="*/ 10000 h 10000"/>
                <a:gd name="connsiteX2" fmla="*/ 8052 w 9864"/>
                <a:gd name="connsiteY2" fmla="*/ 5561 h 10000"/>
                <a:gd name="connsiteX3" fmla="*/ 9864 w 9864"/>
                <a:gd name="connsiteY3" fmla="*/ 0 h 10000"/>
                <a:gd name="connsiteX4" fmla="*/ 0 w 9864"/>
                <a:gd name="connsiteY4" fmla="*/ 40 h 10000"/>
                <a:gd name="connsiteX0" fmla="*/ 9 w 9950"/>
                <a:gd name="connsiteY0" fmla="*/ 40 h 10000"/>
                <a:gd name="connsiteX1" fmla="*/ 20 w 9950"/>
                <a:gd name="connsiteY1" fmla="*/ 10000 h 10000"/>
                <a:gd name="connsiteX2" fmla="*/ 8113 w 9950"/>
                <a:gd name="connsiteY2" fmla="*/ 5561 h 10000"/>
                <a:gd name="connsiteX3" fmla="*/ 9950 w 9950"/>
                <a:gd name="connsiteY3" fmla="*/ 0 h 10000"/>
                <a:gd name="connsiteX4" fmla="*/ 9 w 9950"/>
                <a:gd name="connsiteY4" fmla="*/ 40 h 10000"/>
                <a:gd name="connsiteX0" fmla="*/ 19 w 10010"/>
                <a:gd name="connsiteY0" fmla="*/ 40 h 10000"/>
                <a:gd name="connsiteX1" fmla="*/ 30 w 10010"/>
                <a:gd name="connsiteY1" fmla="*/ 10000 h 10000"/>
                <a:gd name="connsiteX2" fmla="*/ 8164 w 10010"/>
                <a:gd name="connsiteY2" fmla="*/ 5561 h 10000"/>
                <a:gd name="connsiteX3" fmla="*/ 10010 w 10010"/>
                <a:gd name="connsiteY3" fmla="*/ 0 h 10000"/>
                <a:gd name="connsiteX4" fmla="*/ 19 w 10010"/>
                <a:gd name="connsiteY4" fmla="*/ 40 h 10000"/>
                <a:gd name="connsiteX0" fmla="*/ 0 w 9991"/>
                <a:gd name="connsiteY0" fmla="*/ 40 h 10000"/>
                <a:gd name="connsiteX1" fmla="*/ 11 w 9991"/>
                <a:gd name="connsiteY1" fmla="*/ 10000 h 10000"/>
                <a:gd name="connsiteX2" fmla="*/ 8145 w 9991"/>
                <a:gd name="connsiteY2" fmla="*/ 5561 h 10000"/>
                <a:gd name="connsiteX3" fmla="*/ 9991 w 9991"/>
                <a:gd name="connsiteY3" fmla="*/ 0 h 10000"/>
                <a:gd name="connsiteX4" fmla="*/ 0 w 9991"/>
                <a:gd name="connsiteY4" fmla="*/ 40 h 10000"/>
                <a:gd name="connsiteX0" fmla="*/ 11 w 10011"/>
                <a:gd name="connsiteY0" fmla="*/ 40 h 10188"/>
                <a:gd name="connsiteX1" fmla="*/ 0 w 10011"/>
                <a:gd name="connsiteY1" fmla="*/ 10188 h 10188"/>
                <a:gd name="connsiteX2" fmla="*/ 8163 w 10011"/>
                <a:gd name="connsiteY2" fmla="*/ 5561 h 10188"/>
                <a:gd name="connsiteX3" fmla="*/ 10011 w 10011"/>
                <a:gd name="connsiteY3" fmla="*/ 0 h 10188"/>
                <a:gd name="connsiteX4" fmla="*/ 11 w 10011"/>
                <a:gd name="connsiteY4" fmla="*/ 40 h 101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11" h="10188">
                  <a:moveTo>
                    <a:pt x="11" y="40"/>
                  </a:moveTo>
                  <a:cubicBezTo>
                    <a:pt x="15" y="3295"/>
                    <a:pt x="2" y="6839"/>
                    <a:pt x="0" y="10188"/>
                  </a:cubicBezTo>
                  <a:lnTo>
                    <a:pt x="8163" y="5561"/>
                  </a:lnTo>
                  <a:lnTo>
                    <a:pt x="10011" y="0"/>
                  </a:lnTo>
                  <a:lnTo>
                    <a:pt x="11" y="40"/>
                  </a:lnTo>
                  <a:close/>
                </a:path>
              </a:pathLst>
            </a:custGeom>
            <a:solidFill>
              <a:srgbClr val="2C41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2542" tIns="56271" rIns="112542" bIns="56271" numCol="1" anchor="t" anchorCtr="0" compatLnSpc="1">
              <a:prstTxWarp prst="textNoShape">
                <a:avLst/>
              </a:prstTxWarp>
            </a:bodyPr>
            <a:lstStyle/>
            <a:p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32" name="Freeform 6"/>
            <p:cNvSpPr>
              <a:spLocks/>
            </p:cNvSpPr>
            <p:nvPr userDrawn="1"/>
          </p:nvSpPr>
          <p:spPr bwMode="auto">
            <a:xfrm>
              <a:off x="-34838" y="-38715"/>
              <a:ext cx="9011158" cy="801026"/>
            </a:xfrm>
            <a:custGeom>
              <a:avLst/>
              <a:gdLst>
                <a:gd name="T0" fmla="*/ 0 w 5214"/>
                <a:gd name="T1" fmla="*/ 0 h 2191"/>
                <a:gd name="T2" fmla="*/ 0 w 5214"/>
                <a:gd name="T3" fmla="*/ 2191 h 2191"/>
                <a:gd name="T4" fmla="*/ 5214 w 5214"/>
                <a:gd name="T5" fmla="*/ 0 h 2191"/>
                <a:gd name="T6" fmla="*/ 0 w 5214"/>
                <a:gd name="T7" fmla="*/ 0 h 2191"/>
                <a:gd name="connsiteX0" fmla="*/ 0 w 10000"/>
                <a:gd name="connsiteY0" fmla="*/ 0 h 4612"/>
                <a:gd name="connsiteX1" fmla="*/ 5345 w 10000"/>
                <a:gd name="connsiteY1" fmla="*/ 4612 h 4612"/>
                <a:gd name="connsiteX2" fmla="*/ 10000 w 10000"/>
                <a:gd name="connsiteY2" fmla="*/ 0 h 4612"/>
                <a:gd name="connsiteX3" fmla="*/ 0 w 10000"/>
                <a:gd name="connsiteY3" fmla="*/ 0 h 4612"/>
                <a:gd name="connsiteX0" fmla="*/ 0 w 4684"/>
                <a:gd name="connsiteY0" fmla="*/ 74 h 10000"/>
                <a:gd name="connsiteX1" fmla="*/ 29 w 4684"/>
                <a:gd name="connsiteY1" fmla="*/ 10000 h 10000"/>
                <a:gd name="connsiteX2" fmla="*/ 4684 w 4684"/>
                <a:gd name="connsiteY2" fmla="*/ 0 h 10000"/>
                <a:gd name="connsiteX3" fmla="*/ 0 w 4684"/>
                <a:gd name="connsiteY3" fmla="*/ 74 h 10000"/>
                <a:gd name="connsiteX0" fmla="*/ 0 w 10000"/>
                <a:gd name="connsiteY0" fmla="*/ 74 h 9961"/>
                <a:gd name="connsiteX1" fmla="*/ 140 w 10000"/>
                <a:gd name="connsiteY1" fmla="*/ 9961 h 9961"/>
                <a:gd name="connsiteX2" fmla="*/ 10000 w 10000"/>
                <a:gd name="connsiteY2" fmla="*/ 0 h 9961"/>
                <a:gd name="connsiteX3" fmla="*/ 0 w 10000"/>
                <a:gd name="connsiteY3" fmla="*/ 74 h 9961"/>
                <a:gd name="connsiteX0" fmla="*/ 9 w 9866"/>
                <a:gd name="connsiteY0" fmla="*/ 0 h 10081"/>
                <a:gd name="connsiteX1" fmla="*/ 6 w 9866"/>
                <a:gd name="connsiteY1" fmla="*/ 10081 h 10081"/>
                <a:gd name="connsiteX2" fmla="*/ 9866 w 9866"/>
                <a:gd name="connsiteY2" fmla="*/ 81 h 10081"/>
                <a:gd name="connsiteX3" fmla="*/ 9 w 9866"/>
                <a:gd name="connsiteY3" fmla="*/ 0 h 10081"/>
                <a:gd name="connsiteX0" fmla="*/ 9 w 10000"/>
                <a:gd name="connsiteY0" fmla="*/ 36 h 9920"/>
                <a:gd name="connsiteX1" fmla="*/ 6 w 10000"/>
                <a:gd name="connsiteY1" fmla="*/ 9920 h 9920"/>
                <a:gd name="connsiteX2" fmla="*/ 10000 w 10000"/>
                <a:gd name="connsiteY2" fmla="*/ 0 h 9920"/>
                <a:gd name="connsiteX3" fmla="*/ 9 w 10000"/>
                <a:gd name="connsiteY3" fmla="*/ 36 h 9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000" h="9920">
                  <a:moveTo>
                    <a:pt x="9" y="36"/>
                  </a:moveTo>
                  <a:cubicBezTo>
                    <a:pt x="30" y="3331"/>
                    <a:pt x="-15" y="6625"/>
                    <a:pt x="6" y="9920"/>
                  </a:cubicBezTo>
                  <a:lnTo>
                    <a:pt x="10000" y="0"/>
                  </a:lnTo>
                  <a:lnTo>
                    <a:pt x="9" y="3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112542" tIns="56271" rIns="112542" bIns="56271" numCol="1" anchor="t" anchorCtr="0" compatLnSpc="1">
              <a:prstTxWarp prst="textNoShape">
                <a:avLst/>
              </a:prstTxWarp>
            </a:bodyPr>
            <a:lstStyle/>
            <a:p>
              <a:endParaRPr lang="ru-RU" sz="1600" dirty="0">
                <a:solidFill>
                  <a:prstClr val="black"/>
                </a:solidFill>
              </a:endParaRPr>
            </a:p>
          </p:txBody>
        </p:sp>
        <p:sp>
          <p:nvSpPr>
            <p:cNvPr id="33" name="Freeform 9"/>
            <p:cNvSpPr>
              <a:spLocks/>
            </p:cNvSpPr>
            <p:nvPr/>
          </p:nvSpPr>
          <p:spPr bwMode="auto">
            <a:xfrm>
              <a:off x="-49164" y="-47003"/>
              <a:ext cx="7696089" cy="846767"/>
            </a:xfrm>
            <a:custGeom>
              <a:avLst/>
              <a:gdLst>
                <a:gd name="T0" fmla="*/ 0 w 4051"/>
                <a:gd name="T1" fmla="*/ 0 h 1363"/>
                <a:gd name="T2" fmla="*/ 0 w 4051"/>
                <a:gd name="T3" fmla="*/ 1363 h 1363"/>
                <a:gd name="T4" fmla="*/ 4051 w 4051"/>
                <a:gd name="T5" fmla="*/ 0 h 1363"/>
                <a:gd name="T6" fmla="*/ 0 w 4051"/>
                <a:gd name="T7" fmla="*/ 0 h 1363"/>
                <a:gd name="connsiteX0" fmla="*/ 6861 w 10000"/>
                <a:gd name="connsiteY0" fmla="*/ 0 h 10164"/>
                <a:gd name="connsiteX1" fmla="*/ 0 w 10000"/>
                <a:gd name="connsiteY1" fmla="*/ 10164 h 10164"/>
                <a:gd name="connsiteX2" fmla="*/ 10000 w 10000"/>
                <a:gd name="connsiteY2" fmla="*/ 164 h 10164"/>
                <a:gd name="connsiteX3" fmla="*/ 6861 w 10000"/>
                <a:gd name="connsiteY3" fmla="*/ 0 h 10164"/>
                <a:gd name="connsiteX0" fmla="*/ 18 w 3157"/>
                <a:gd name="connsiteY0" fmla="*/ 0 h 3312"/>
                <a:gd name="connsiteX1" fmla="*/ 0 w 3157"/>
                <a:gd name="connsiteY1" fmla="*/ 3312 h 3312"/>
                <a:gd name="connsiteX2" fmla="*/ 3157 w 3157"/>
                <a:gd name="connsiteY2" fmla="*/ 164 h 3312"/>
                <a:gd name="connsiteX3" fmla="*/ 18 w 3157"/>
                <a:gd name="connsiteY3" fmla="*/ 0 h 3312"/>
                <a:gd name="connsiteX0" fmla="*/ 57 w 10409"/>
                <a:gd name="connsiteY0" fmla="*/ 167 h 10167"/>
                <a:gd name="connsiteX1" fmla="*/ 0 w 10409"/>
                <a:gd name="connsiteY1" fmla="*/ 10167 h 10167"/>
                <a:gd name="connsiteX2" fmla="*/ 10409 w 10409"/>
                <a:gd name="connsiteY2" fmla="*/ 0 h 10167"/>
                <a:gd name="connsiteX3" fmla="*/ 57 w 10409"/>
                <a:gd name="connsiteY3" fmla="*/ 167 h 10167"/>
                <a:gd name="connsiteX0" fmla="*/ 181 w 10409"/>
                <a:gd name="connsiteY0" fmla="*/ 9 h 10269"/>
                <a:gd name="connsiteX1" fmla="*/ 0 w 10409"/>
                <a:gd name="connsiteY1" fmla="*/ 10269 h 10269"/>
                <a:gd name="connsiteX2" fmla="*/ 10409 w 10409"/>
                <a:gd name="connsiteY2" fmla="*/ 102 h 10269"/>
                <a:gd name="connsiteX3" fmla="*/ 181 w 10409"/>
                <a:gd name="connsiteY3" fmla="*/ 9 h 10269"/>
                <a:gd name="connsiteX0" fmla="*/ 3 w 10231"/>
                <a:gd name="connsiteY0" fmla="*/ 9 h 10269"/>
                <a:gd name="connsiteX1" fmla="*/ 46 w 10231"/>
                <a:gd name="connsiteY1" fmla="*/ 10269 h 10269"/>
                <a:gd name="connsiteX2" fmla="*/ 10231 w 10231"/>
                <a:gd name="connsiteY2" fmla="*/ 102 h 10269"/>
                <a:gd name="connsiteX3" fmla="*/ 3 w 10231"/>
                <a:gd name="connsiteY3" fmla="*/ 9 h 10269"/>
                <a:gd name="connsiteX0" fmla="*/ 0 w 10228"/>
                <a:gd name="connsiteY0" fmla="*/ 9 h 10269"/>
                <a:gd name="connsiteX1" fmla="*/ 43 w 10228"/>
                <a:gd name="connsiteY1" fmla="*/ 10269 h 10269"/>
                <a:gd name="connsiteX2" fmla="*/ 10228 w 10228"/>
                <a:gd name="connsiteY2" fmla="*/ 102 h 10269"/>
                <a:gd name="connsiteX3" fmla="*/ 0 w 10228"/>
                <a:gd name="connsiteY3" fmla="*/ 9 h 10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228" h="10269">
                  <a:moveTo>
                    <a:pt x="0" y="9"/>
                  </a:moveTo>
                  <a:cubicBezTo>
                    <a:pt x="56" y="10013"/>
                    <a:pt x="62" y="6936"/>
                    <a:pt x="43" y="10269"/>
                  </a:cubicBezTo>
                  <a:lnTo>
                    <a:pt x="10228" y="102"/>
                  </a:lnTo>
                  <a:cubicBezTo>
                    <a:pt x="6777" y="158"/>
                    <a:pt x="3451" y="-47"/>
                    <a:pt x="0" y="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112542" tIns="56271" rIns="112542" bIns="56271" numCol="1" anchor="t" anchorCtr="0" compatLnSpc="1">
              <a:prstTxWarp prst="textNoShape">
                <a:avLst/>
              </a:prstTxWarp>
            </a:bodyPr>
            <a:lstStyle/>
            <a:p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34" name="Freeform 6"/>
            <p:cNvSpPr>
              <a:spLocks/>
            </p:cNvSpPr>
            <p:nvPr/>
          </p:nvSpPr>
          <p:spPr bwMode="auto">
            <a:xfrm>
              <a:off x="-34838" y="-38715"/>
              <a:ext cx="8147061" cy="529742"/>
            </a:xfrm>
            <a:custGeom>
              <a:avLst/>
              <a:gdLst>
                <a:gd name="T0" fmla="*/ 0 w 5214"/>
                <a:gd name="T1" fmla="*/ 0 h 2191"/>
                <a:gd name="T2" fmla="*/ 0 w 5214"/>
                <a:gd name="T3" fmla="*/ 2191 h 2191"/>
                <a:gd name="T4" fmla="*/ 5214 w 5214"/>
                <a:gd name="T5" fmla="*/ 0 h 2191"/>
                <a:gd name="T6" fmla="*/ 0 w 5214"/>
                <a:gd name="T7" fmla="*/ 0 h 2191"/>
                <a:gd name="connsiteX0" fmla="*/ 0 w 10000"/>
                <a:gd name="connsiteY0" fmla="*/ 0 h 4612"/>
                <a:gd name="connsiteX1" fmla="*/ 5345 w 10000"/>
                <a:gd name="connsiteY1" fmla="*/ 4612 h 4612"/>
                <a:gd name="connsiteX2" fmla="*/ 10000 w 10000"/>
                <a:gd name="connsiteY2" fmla="*/ 0 h 4612"/>
                <a:gd name="connsiteX3" fmla="*/ 0 w 10000"/>
                <a:gd name="connsiteY3" fmla="*/ 0 h 4612"/>
                <a:gd name="connsiteX0" fmla="*/ 0 w 4684"/>
                <a:gd name="connsiteY0" fmla="*/ 74 h 10000"/>
                <a:gd name="connsiteX1" fmla="*/ 29 w 4684"/>
                <a:gd name="connsiteY1" fmla="*/ 10000 h 10000"/>
                <a:gd name="connsiteX2" fmla="*/ 4684 w 4684"/>
                <a:gd name="connsiteY2" fmla="*/ 0 h 10000"/>
                <a:gd name="connsiteX3" fmla="*/ 0 w 4684"/>
                <a:gd name="connsiteY3" fmla="*/ 74 h 10000"/>
                <a:gd name="connsiteX0" fmla="*/ 0 w 10000"/>
                <a:gd name="connsiteY0" fmla="*/ 74 h 9961"/>
                <a:gd name="connsiteX1" fmla="*/ 140 w 10000"/>
                <a:gd name="connsiteY1" fmla="*/ 9961 h 9961"/>
                <a:gd name="connsiteX2" fmla="*/ 10000 w 10000"/>
                <a:gd name="connsiteY2" fmla="*/ 0 h 9961"/>
                <a:gd name="connsiteX3" fmla="*/ 0 w 10000"/>
                <a:gd name="connsiteY3" fmla="*/ 74 h 9961"/>
                <a:gd name="connsiteX0" fmla="*/ 9 w 9866"/>
                <a:gd name="connsiteY0" fmla="*/ 0 h 10081"/>
                <a:gd name="connsiteX1" fmla="*/ 6 w 9866"/>
                <a:gd name="connsiteY1" fmla="*/ 10081 h 10081"/>
                <a:gd name="connsiteX2" fmla="*/ 9866 w 9866"/>
                <a:gd name="connsiteY2" fmla="*/ 81 h 10081"/>
                <a:gd name="connsiteX3" fmla="*/ 9 w 9866"/>
                <a:gd name="connsiteY3" fmla="*/ 0 h 10081"/>
                <a:gd name="connsiteX0" fmla="*/ 9 w 10000"/>
                <a:gd name="connsiteY0" fmla="*/ 36 h 9920"/>
                <a:gd name="connsiteX1" fmla="*/ 6 w 10000"/>
                <a:gd name="connsiteY1" fmla="*/ 9920 h 9920"/>
                <a:gd name="connsiteX2" fmla="*/ 10000 w 10000"/>
                <a:gd name="connsiteY2" fmla="*/ 0 h 9920"/>
                <a:gd name="connsiteX3" fmla="*/ 9 w 10000"/>
                <a:gd name="connsiteY3" fmla="*/ 36 h 9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000" h="9920">
                  <a:moveTo>
                    <a:pt x="9" y="36"/>
                  </a:moveTo>
                  <a:cubicBezTo>
                    <a:pt x="30" y="3331"/>
                    <a:pt x="-15" y="6625"/>
                    <a:pt x="6" y="9920"/>
                  </a:cubicBezTo>
                  <a:lnTo>
                    <a:pt x="10000" y="0"/>
                  </a:lnTo>
                  <a:lnTo>
                    <a:pt x="9" y="36"/>
                  </a:lnTo>
                  <a:close/>
                </a:path>
              </a:pathLst>
            </a:custGeom>
            <a:solidFill>
              <a:srgbClr val="B128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2542" tIns="56271" rIns="112542" bIns="56271" numCol="1" anchor="t" anchorCtr="0" compatLnSpc="1">
              <a:prstTxWarp prst="textNoShape">
                <a:avLst/>
              </a:prstTxWarp>
            </a:bodyPr>
            <a:lstStyle/>
            <a:p>
              <a:endParaRPr lang="ru-RU" sz="1600" dirty="0">
                <a:solidFill>
                  <a:prstClr val="black"/>
                </a:solidFill>
              </a:endParaRPr>
            </a:p>
          </p:txBody>
        </p:sp>
      </p:grpSp>
      <p:sp>
        <p:nvSpPr>
          <p:cNvPr id="9" name="Banderole Bottom"/>
          <p:cNvSpPr>
            <a:spLocks/>
          </p:cNvSpPr>
          <p:nvPr>
            <p:custDataLst>
              <p:tags r:id="rId1"/>
            </p:custDataLst>
          </p:nvPr>
        </p:nvSpPr>
        <p:spPr>
          <a:xfrm>
            <a:off x="0" y="6600825"/>
            <a:ext cx="12192000" cy="266700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600" b="0" dirty="0" smtClean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52" name="Slide Number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1551139" y="6718300"/>
            <a:ext cx="141064" cy="1704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900" b="0" smtClean="0"/>
            </a:lvl1pPr>
          </a:lstStyle>
          <a:p>
            <a:pPr defTabSz="1125444">
              <a:defRPr/>
            </a:pPr>
            <a:fld id="{7AA7B471-74A3-4F5F-8955-6C99E2375CAC}" type="slidenum">
              <a:rPr lang="en-US" sz="1108">
                <a:solidFill>
                  <a:prstClr val="black"/>
                </a:solidFill>
                <a:latin typeface="Arial Narrow"/>
                <a:cs typeface="Arial" pitchFamily="34" charset="0"/>
              </a:rPr>
              <a:pPr defTabSz="1125444">
                <a:defRPr/>
              </a:pPr>
              <a:t>‹#›</a:t>
            </a:fld>
            <a:endParaRPr lang="en-US" sz="1108" dirty="0">
              <a:solidFill>
                <a:prstClr val="black"/>
              </a:solidFill>
              <a:latin typeface="Arial Narrow"/>
              <a:cs typeface="Arial" pitchFamily="34" charset="0"/>
            </a:endParaRPr>
          </a:p>
        </p:txBody>
      </p:sp>
      <p:sp>
        <p:nvSpPr>
          <p:cNvPr id="56" name="Slide Number Line"/>
          <p:cNvSpPr>
            <a:spLocks noChangeShapeType="1"/>
          </p:cNvSpPr>
          <p:nvPr>
            <p:custDataLst>
              <p:tags r:id="rId3"/>
            </p:custDataLst>
          </p:nvPr>
        </p:nvSpPr>
        <p:spPr bwMode="auto">
          <a:xfrm>
            <a:off x="11408508" y="6734176"/>
            <a:ext cx="0" cy="12382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endParaRPr lang="en-US" sz="16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Contents Text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902807" y="1996522"/>
            <a:ext cx="10511563" cy="4240263"/>
          </a:xfrm>
        </p:spPr>
        <p:txBody>
          <a:bodyPr>
            <a:spAutoFit/>
          </a:bodyPr>
          <a:lstStyle>
            <a:lvl1pPr marL="443088" indent="-443088">
              <a:spcBef>
                <a:spcPts val="2462"/>
              </a:spcBef>
              <a:tabLst>
                <a:tab pos="10488508" algn="r"/>
              </a:tabLst>
              <a:defRPr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  <a:lvl2pPr marL="886176" indent="-443088">
              <a:spcBef>
                <a:spcPts val="738"/>
              </a:spcBef>
              <a:buNone/>
              <a:tabLst>
                <a:tab pos="10488508" algn="r"/>
              </a:tabLst>
              <a:defRPr b="0">
                <a:solidFill>
                  <a:schemeClr val="tx1"/>
                </a:solidFill>
              </a:defRPr>
            </a:lvl2pPr>
            <a:lvl3pPr marL="1550808" indent="-664632">
              <a:spcBef>
                <a:spcPts val="0"/>
              </a:spcBef>
              <a:buNone/>
              <a:tabLst>
                <a:tab pos="10488508" algn="r"/>
              </a:tabLst>
              <a:defRPr>
                <a:solidFill>
                  <a:schemeClr val="tx1"/>
                </a:solidFill>
              </a:defRPr>
            </a:lvl3pPr>
            <a:lvl4pPr marL="1545532" indent="-658463">
              <a:buNone/>
              <a:tabLst>
                <a:tab pos="10488508" algn="r"/>
              </a:tabLst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 smtClean="0"/>
              <a:t>A.	xxx	xx</a:t>
            </a:r>
          </a:p>
          <a:p>
            <a:pPr lvl="0"/>
            <a:r>
              <a:rPr lang="en-US" dirty="0" smtClean="0"/>
              <a:t>B.	xxx	xx</a:t>
            </a:r>
          </a:p>
          <a:p>
            <a:pPr lvl="1"/>
            <a:r>
              <a:rPr lang="en-US" dirty="0" smtClean="0"/>
              <a:t>1.	xxx	xx</a:t>
            </a:r>
          </a:p>
          <a:p>
            <a:pPr lvl="1"/>
            <a:r>
              <a:rPr lang="en-US" dirty="0" smtClean="0"/>
              <a:t>2.	xxx	xx</a:t>
            </a:r>
          </a:p>
          <a:p>
            <a:pPr lvl="2"/>
            <a:r>
              <a:rPr lang="en-US" dirty="0" smtClean="0"/>
              <a:t>2.1	xxx	xx</a:t>
            </a:r>
          </a:p>
          <a:p>
            <a:pPr lvl="2"/>
            <a:r>
              <a:rPr lang="en-US" dirty="0" smtClean="0"/>
              <a:t>2.2	xxx	xx</a:t>
            </a:r>
          </a:p>
          <a:p>
            <a:pPr lvl="0"/>
            <a:r>
              <a:rPr lang="en-US" dirty="0" smtClean="0"/>
              <a:t>C.	xxx	xx</a:t>
            </a:r>
          </a:p>
          <a:p>
            <a:pPr lvl="1"/>
            <a:r>
              <a:rPr lang="en-US" dirty="0" smtClean="0"/>
              <a:t>1.	xxx	xx</a:t>
            </a:r>
          </a:p>
          <a:p>
            <a:pPr lvl="2"/>
            <a:r>
              <a:rPr lang="en-US" dirty="0" smtClean="0"/>
              <a:t>1.1	xxx	xx</a:t>
            </a:r>
          </a:p>
        </p:txBody>
      </p:sp>
      <p:sp>
        <p:nvSpPr>
          <p:cNvPr id="10" name="Contents Title"/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902807" y="857851"/>
            <a:ext cx="10515470" cy="4755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>
              <a:lnSpc>
                <a:spcPct val="93000"/>
              </a:lnSpc>
              <a:defRPr/>
            </a:lvl1pPr>
          </a:lstStyle>
          <a:p>
            <a:pPr defTabSz="1125444" fontAlgn="auto">
              <a:spcAft>
                <a:spcPts val="0"/>
              </a:spcAft>
              <a:tabLst>
                <a:tab pos="10492416" algn="r"/>
              </a:tabLst>
              <a:defRPr/>
            </a:pPr>
            <a:r>
              <a:rPr lang="ru-RU" altLang="de-DE" sz="3323" dirty="0" smtClean="0">
                <a:solidFill>
                  <a:srgbClr val="B12726"/>
                </a:solidFill>
                <a:latin typeface="Arial Narrow"/>
                <a:cs typeface="Arial" pitchFamily="34" charset="0"/>
              </a:rPr>
              <a:t>Оглавление</a:t>
            </a:r>
            <a:r>
              <a:rPr lang="en-US" altLang="de-DE" sz="3323" dirty="0" smtClean="0">
                <a:solidFill>
                  <a:srgbClr val="B12726"/>
                </a:solidFill>
                <a:latin typeface="Arial Narrow"/>
                <a:cs typeface="Arial" pitchFamily="34" charset="0"/>
              </a:rPr>
              <a:t>	</a:t>
            </a:r>
            <a:endParaRPr lang="en-US" altLang="de-DE" sz="3323" dirty="0">
              <a:solidFill>
                <a:srgbClr val="B12726"/>
              </a:solidFill>
              <a:latin typeface="Arial Narrow"/>
              <a:cs typeface="Arial" pitchFamily="34" charset="0"/>
            </a:endParaRPr>
          </a:p>
        </p:txBody>
      </p:sp>
      <p:sp>
        <p:nvSpPr>
          <p:cNvPr id="35" name="Slide Number"/>
          <p:cNvSpPr txBox="1">
            <a:spLocks noChangeArrowheads="1"/>
          </p:cNvSpPr>
          <p:nvPr userDrawn="1">
            <p:custDataLst>
              <p:tags r:id="rId6"/>
            </p:custDataLst>
          </p:nvPr>
        </p:nvSpPr>
        <p:spPr bwMode="auto">
          <a:xfrm>
            <a:off x="11416792" y="117967"/>
            <a:ext cx="5307862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900" b="0" smtClean="0"/>
            </a:lvl1pPr>
          </a:lstStyle>
          <a:p>
            <a:pPr defTabSz="1125444">
              <a:defRPr/>
            </a:pPr>
            <a:fld id="{7AA7B471-74A3-4F5F-8955-6C99E2375CAC}" type="slidenum">
              <a:rPr lang="en-US" sz="1800">
                <a:solidFill>
                  <a:prstClr val="white"/>
                </a:solidFill>
                <a:latin typeface="Arial Narrow"/>
                <a:cs typeface="Arial" pitchFamily="34" charset="0"/>
              </a:rPr>
              <a:pPr defTabSz="1125444">
                <a:defRPr/>
              </a:pPr>
              <a:t>‹#›</a:t>
            </a:fld>
            <a:endParaRPr lang="en-US" sz="1800" dirty="0">
              <a:solidFill>
                <a:prstClr val="white"/>
              </a:solidFill>
              <a:latin typeface="Arial Narrow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2402488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Position Lines"/>
          <p:cNvGrpSpPr/>
          <p:nvPr/>
        </p:nvGrpSpPr>
        <p:grpSpPr>
          <a:xfrm>
            <a:off x="907111" y="6886575"/>
            <a:ext cx="563904" cy="72000"/>
            <a:chOff x="737028" y="6886575"/>
            <a:chExt cx="458172" cy="72000"/>
          </a:xfrm>
        </p:grpSpPr>
        <p:sp>
          <p:nvSpPr>
            <p:cNvPr id="10" name="Line"/>
            <p:cNvSpPr>
              <a:spLocks noChangeShapeType="1"/>
            </p:cNvSpPr>
            <p:nvPr>
              <p:custDataLst>
                <p:tags r:id="rId7"/>
              </p:custDataLst>
            </p:nvPr>
          </p:nvSpPr>
          <p:spPr bwMode="auto">
            <a:xfrm>
              <a:off x="737028" y="6886575"/>
              <a:ext cx="0" cy="72000"/>
            </a:xfrm>
            <a:prstGeom prst="line">
              <a:avLst/>
            </a:prstGeom>
            <a:noFill/>
            <a:ln w="15875" cmpd="sng">
              <a:solidFill>
                <a:schemeClr val="accent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n-US" sz="1600" dirty="0">
                <a:solidFill>
                  <a:prstClr val="black"/>
                </a:solidFill>
              </a:endParaRPr>
            </a:p>
          </p:txBody>
        </p:sp>
        <p:sp>
          <p:nvSpPr>
            <p:cNvPr id="11" name="Line"/>
            <p:cNvSpPr>
              <a:spLocks noChangeShapeType="1"/>
            </p:cNvSpPr>
            <p:nvPr>
              <p:custDataLst>
                <p:tags r:id="rId8"/>
              </p:custDataLst>
            </p:nvPr>
          </p:nvSpPr>
          <p:spPr bwMode="auto">
            <a:xfrm>
              <a:off x="1195200" y="6886575"/>
              <a:ext cx="0" cy="72000"/>
            </a:xfrm>
            <a:prstGeom prst="line">
              <a:avLst/>
            </a:prstGeom>
            <a:noFill/>
            <a:ln w="3175" cmpd="sng">
              <a:solidFill>
                <a:schemeClr val="accent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n-US" sz="1600" dirty="0">
                <a:solidFill>
                  <a:prstClr val="black"/>
                </a:solidFill>
              </a:endParaRPr>
            </a:p>
          </p:txBody>
        </p:sp>
      </p:grpSp>
      <p:sp>
        <p:nvSpPr>
          <p:cNvPr id="13" name="Rectangle 12"/>
          <p:cNvSpPr/>
          <p:nvPr>
            <p:custDataLst>
              <p:tags r:id="rId1"/>
            </p:custDataLst>
          </p:nvPr>
        </p:nvSpPr>
        <p:spPr>
          <a:xfrm>
            <a:off x="0" y="1"/>
            <a:ext cx="12192000" cy="4445793"/>
          </a:xfrm>
          <a:prstGeom prst="rect">
            <a:avLst/>
          </a:prstGeom>
          <a:solidFill>
            <a:schemeClr val="bg1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endParaRPr lang="en-US" sz="1600" b="0" dirty="0">
              <a:solidFill>
                <a:prstClr val="black"/>
              </a:solidFill>
            </a:endParaRPr>
          </a:p>
        </p:txBody>
      </p:sp>
      <p:sp>
        <p:nvSpPr>
          <p:cNvPr id="14" name="Rectangle 13"/>
          <p:cNvSpPr/>
          <p:nvPr>
            <p:custDataLst>
              <p:tags r:id="rId2"/>
            </p:custDataLst>
          </p:nvPr>
        </p:nvSpPr>
        <p:spPr>
          <a:xfrm>
            <a:off x="0" y="4448176"/>
            <a:ext cx="12192000" cy="2409825"/>
          </a:xfrm>
          <a:prstGeom prst="rect">
            <a:avLst/>
          </a:prstGeom>
          <a:solidFill>
            <a:schemeClr val="accent1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600" b="0" dirty="0" smtClean="0">
              <a:solidFill>
                <a:prstClr val="black"/>
              </a:solidFill>
              <a:cs typeface="Arial Narrow" pitchFamily="34" charset="0"/>
            </a:endParaRPr>
          </a:p>
        </p:txBody>
      </p:sp>
      <p:sp>
        <p:nvSpPr>
          <p:cNvPr id="15" name="Line 6"/>
          <p:cNvSpPr>
            <a:spLocks noChangeShapeType="1"/>
          </p:cNvSpPr>
          <p:nvPr>
            <p:custDataLst>
              <p:tags r:id="rId3"/>
            </p:custDataLst>
          </p:nvPr>
        </p:nvSpPr>
        <p:spPr bwMode="auto">
          <a:xfrm>
            <a:off x="-2931" y="4448175"/>
            <a:ext cx="12194930" cy="0"/>
          </a:xfrm>
          <a:prstGeom prst="line">
            <a:avLst/>
          </a:prstGeom>
          <a:noFill/>
          <a:ln w="15875">
            <a:solidFill>
              <a:schemeClr val="bg1"/>
            </a:solidFill>
            <a:round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endParaRPr lang="en-US" sz="1600" dirty="0">
              <a:solidFill>
                <a:prstClr val="black"/>
              </a:solidFill>
            </a:endParaRPr>
          </a:p>
        </p:txBody>
      </p:sp>
      <p:sp>
        <p:nvSpPr>
          <p:cNvPr id="53" name="Line 4"/>
          <p:cNvSpPr>
            <a:spLocks noChangeShapeType="1"/>
          </p:cNvSpPr>
          <p:nvPr>
            <p:custDataLst>
              <p:tags r:id="rId4"/>
            </p:custDataLst>
          </p:nvPr>
        </p:nvSpPr>
        <p:spPr bwMode="auto">
          <a:xfrm>
            <a:off x="907111" y="0"/>
            <a:ext cx="0" cy="6861562"/>
          </a:xfrm>
          <a:prstGeom prst="line">
            <a:avLst/>
          </a:prstGeom>
          <a:noFill/>
          <a:ln w="158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sz="1600" dirty="0">
              <a:solidFill>
                <a:prstClr val="black"/>
              </a:soli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  <p:custDataLst>
              <p:tags r:id="rId5"/>
            </p:custDataLst>
          </p:nvPr>
        </p:nvSpPr>
        <p:spPr>
          <a:xfrm>
            <a:off x="1514001" y="3785857"/>
            <a:ext cx="9937493" cy="657337"/>
          </a:xfrm>
        </p:spPr>
        <p:txBody>
          <a:bodyPr vert="horz" wrap="square" lIns="0" tIns="0" rIns="0" bIns="180000" rtlCol="0" anchor="b" anchorCtr="0">
            <a:spAutoFit/>
          </a:bodyPr>
          <a:lstStyle>
            <a:lvl1pPr marL="668232" indent="-668232" algn="l" defTabSz="443088" rtl="0" eaLnBrk="1" latinLnBrk="0" hangingPunct="1">
              <a:lnSpc>
                <a:spcPct val="93000"/>
              </a:lnSpc>
              <a:spcBef>
                <a:spcPct val="0"/>
              </a:spcBef>
              <a:buNone/>
              <a:tabLst>
                <a:tab pos="990625" algn="l"/>
              </a:tabLst>
              <a:defRPr kumimoji="0" lang="en-US" sz="3323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668232" marR="0" lvl="0" indent="-668232" algn="l" defTabSz="443088" rtl="0" eaLnBrk="1" fontAlgn="auto" latinLnBrk="0" hangingPunct="1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990625" algn="l"/>
              </a:tabLst>
              <a:defRPr/>
            </a:pPr>
            <a:r>
              <a:rPr lang="en-US" dirty="0" smtClean="0"/>
              <a:t>A.    Click to edit text</a:t>
            </a:r>
            <a:endParaRPr lang="en-US" dirty="0"/>
          </a:p>
        </p:txBody>
      </p:sp>
      <p:sp>
        <p:nvSpPr>
          <p:cNvPr id="22" name="Slide Number"/>
          <p:cNvSpPr txBox="1">
            <a:spLocks noChangeArrowheads="1"/>
          </p:cNvSpPr>
          <p:nvPr userDrawn="1">
            <p:custDataLst>
              <p:tags r:id="rId6"/>
            </p:custDataLst>
          </p:nvPr>
        </p:nvSpPr>
        <p:spPr bwMode="auto">
          <a:xfrm>
            <a:off x="11708432" y="164667"/>
            <a:ext cx="530786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900" b="0" smtClean="0"/>
            </a:lvl1pPr>
          </a:lstStyle>
          <a:p>
            <a:pPr defTabSz="1125444">
              <a:defRPr/>
            </a:pPr>
            <a:fld id="{7AA7B471-74A3-4F5F-8955-6C99E2375CAC}" type="slidenum">
              <a:rPr lang="en-US" sz="1400">
                <a:solidFill>
                  <a:prstClr val="white"/>
                </a:solidFill>
                <a:latin typeface="Arial Narrow"/>
                <a:cs typeface="Arial" pitchFamily="34" charset="0"/>
              </a:rPr>
              <a:pPr defTabSz="1125444">
                <a:defRPr/>
              </a:pPr>
              <a:t>‹#›</a:t>
            </a:fld>
            <a:endParaRPr lang="en-US" sz="1400" dirty="0">
              <a:solidFill>
                <a:prstClr val="white"/>
              </a:solidFill>
              <a:latin typeface="Arial Narrow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001598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st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11708432" y="164667"/>
            <a:ext cx="5307862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900" b="0" smtClean="0"/>
            </a:lvl1pPr>
          </a:lstStyle>
          <a:p>
            <a:pPr defTabSz="1125444">
              <a:defRPr/>
            </a:pPr>
            <a:fld id="{7AA7B471-74A3-4F5F-8955-6C99E2375CAC}" type="slidenum">
              <a:rPr lang="en-US" sz="1800">
                <a:solidFill>
                  <a:prstClr val="white">
                    <a:lumMod val="50000"/>
                  </a:prstClr>
                </a:solidFill>
                <a:latin typeface="Arial Narrow"/>
                <a:cs typeface="Arial" pitchFamily="34" charset="0"/>
              </a:rPr>
              <a:pPr defTabSz="1125444">
                <a:defRPr/>
              </a:pPr>
              <a:t>‹#›</a:t>
            </a:fld>
            <a:endParaRPr lang="en-US" sz="1400" dirty="0">
              <a:solidFill>
                <a:prstClr val="white">
                  <a:lumMod val="50000"/>
                </a:prstClr>
              </a:solidFill>
              <a:latin typeface="Arial Narrow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820625"/>
      </p:ext>
    </p:extLst>
  </p:cSld>
  <p:clrMapOvr>
    <a:masterClrMapping/>
  </p:clrMapOvr>
  <p:hf hd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nderole Bottom"/>
          <p:cNvSpPr>
            <a:spLocks/>
          </p:cNvSpPr>
          <p:nvPr>
            <p:custDataLst>
              <p:tags r:id="rId1"/>
            </p:custDataLst>
          </p:nvPr>
        </p:nvSpPr>
        <p:spPr>
          <a:xfrm>
            <a:off x="0" y="6602401"/>
            <a:ext cx="12192000" cy="263283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/>
            <a:endParaRPr lang="de-DE" sz="1600" b="0" dirty="0" smtClean="0">
              <a:solidFill>
                <a:prstClr val="black"/>
              </a:solidFill>
              <a:cs typeface="Arial Narrow" pitchFamily="34" charset="0"/>
            </a:endParaRPr>
          </a:p>
        </p:txBody>
      </p:sp>
      <p:sp>
        <p:nvSpPr>
          <p:cNvPr id="8" name="Slide Number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11708432" y="164667"/>
            <a:ext cx="5307862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900" b="0" smtClean="0"/>
            </a:lvl1pPr>
          </a:lstStyle>
          <a:p>
            <a:pPr defTabSz="1125444">
              <a:defRPr/>
            </a:pPr>
            <a:fld id="{7AA7B471-74A3-4F5F-8955-6C99E2375CAC}" type="slidenum">
              <a:rPr lang="en-US" sz="1800">
                <a:solidFill>
                  <a:prstClr val="white">
                    <a:lumMod val="50000"/>
                  </a:prstClr>
                </a:solidFill>
                <a:latin typeface="Arial Narrow"/>
                <a:cs typeface="Arial" pitchFamily="34" charset="0"/>
              </a:rPr>
              <a:pPr defTabSz="1125444">
                <a:defRPr/>
              </a:pPr>
              <a:t>‹#›</a:t>
            </a:fld>
            <a:endParaRPr lang="en-US" sz="1800" dirty="0">
              <a:solidFill>
                <a:prstClr val="white">
                  <a:lumMod val="50000"/>
                </a:prstClr>
              </a:solidFill>
              <a:latin typeface="Arial Narrow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4317720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Группа 19"/>
          <p:cNvGrpSpPr/>
          <p:nvPr userDrawn="1"/>
        </p:nvGrpSpPr>
        <p:grpSpPr>
          <a:xfrm>
            <a:off x="-49164" y="-47003"/>
            <a:ext cx="12251487" cy="846767"/>
            <a:chOff x="-49164" y="-47003"/>
            <a:chExt cx="12251487" cy="846767"/>
          </a:xfrm>
        </p:grpSpPr>
        <p:sp>
          <p:nvSpPr>
            <p:cNvPr id="21" name="Freeform 8"/>
            <p:cNvSpPr>
              <a:spLocks/>
            </p:cNvSpPr>
            <p:nvPr/>
          </p:nvSpPr>
          <p:spPr bwMode="auto">
            <a:xfrm flipH="1">
              <a:off x="1775518" y="-47003"/>
              <a:ext cx="10426805" cy="606941"/>
            </a:xfrm>
            <a:custGeom>
              <a:avLst/>
              <a:gdLst>
                <a:gd name="T0" fmla="*/ 0 w 4406"/>
                <a:gd name="T1" fmla="*/ 0 h 1436"/>
                <a:gd name="T2" fmla="*/ 0 w 4406"/>
                <a:gd name="T3" fmla="*/ 1436 h 1436"/>
                <a:gd name="T4" fmla="*/ 4110 w 4406"/>
                <a:gd name="T5" fmla="*/ 405 h 1436"/>
                <a:gd name="T6" fmla="*/ 4406 w 4406"/>
                <a:gd name="T7" fmla="*/ 0 h 1436"/>
                <a:gd name="T8" fmla="*/ 0 w 4406"/>
                <a:gd name="T9" fmla="*/ 0 h 1436"/>
                <a:gd name="connsiteX0" fmla="*/ 0 w 10000"/>
                <a:gd name="connsiteY0" fmla="*/ 0 h 5109"/>
                <a:gd name="connsiteX1" fmla="*/ 6359 w 10000"/>
                <a:gd name="connsiteY1" fmla="*/ 5109 h 5109"/>
                <a:gd name="connsiteX2" fmla="*/ 9328 w 10000"/>
                <a:gd name="connsiteY2" fmla="*/ 2820 h 5109"/>
                <a:gd name="connsiteX3" fmla="*/ 10000 w 10000"/>
                <a:gd name="connsiteY3" fmla="*/ 0 h 5109"/>
                <a:gd name="connsiteX4" fmla="*/ 0 w 10000"/>
                <a:gd name="connsiteY4" fmla="*/ 0 h 5109"/>
                <a:gd name="connsiteX0" fmla="*/ 0 w 3709"/>
                <a:gd name="connsiteY0" fmla="*/ 306 h 10000"/>
                <a:gd name="connsiteX1" fmla="*/ 68 w 3709"/>
                <a:gd name="connsiteY1" fmla="*/ 10000 h 10000"/>
                <a:gd name="connsiteX2" fmla="*/ 3037 w 3709"/>
                <a:gd name="connsiteY2" fmla="*/ 5520 h 10000"/>
                <a:gd name="connsiteX3" fmla="*/ 3709 w 3709"/>
                <a:gd name="connsiteY3" fmla="*/ 0 h 10000"/>
                <a:gd name="connsiteX4" fmla="*/ 0 w 3709"/>
                <a:gd name="connsiteY4" fmla="*/ 306 h 10000"/>
                <a:gd name="connsiteX0" fmla="*/ 0 w 10000"/>
                <a:gd name="connsiteY0" fmla="*/ 306 h 9927"/>
                <a:gd name="connsiteX1" fmla="*/ 49 w 10000"/>
                <a:gd name="connsiteY1" fmla="*/ 9927 h 9927"/>
                <a:gd name="connsiteX2" fmla="*/ 8188 w 10000"/>
                <a:gd name="connsiteY2" fmla="*/ 5520 h 9927"/>
                <a:gd name="connsiteX3" fmla="*/ 10000 w 10000"/>
                <a:gd name="connsiteY3" fmla="*/ 0 h 9927"/>
                <a:gd name="connsiteX4" fmla="*/ 0 w 10000"/>
                <a:gd name="connsiteY4" fmla="*/ 306 h 9927"/>
                <a:gd name="connsiteX0" fmla="*/ 0 w 10000"/>
                <a:gd name="connsiteY0" fmla="*/ 308 h 10000"/>
                <a:gd name="connsiteX1" fmla="*/ 205 w 10000"/>
                <a:gd name="connsiteY1" fmla="*/ 10000 h 10000"/>
                <a:gd name="connsiteX2" fmla="*/ 8188 w 10000"/>
                <a:gd name="connsiteY2" fmla="*/ 5561 h 10000"/>
                <a:gd name="connsiteX3" fmla="*/ 10000 w 10000"/>
                <a:gd name="connsiteY3" fmla="*/ 0 h 10000"/>
                <a:gd name="connsiteX4" fmla="*/ 0 w 10000"/>
                <a:gd name="connsiteY4" fmla="*/ 308 h 10000"/>
                <a:gd name="connsiteX0" fmla="*/ 0 w 9864"/>
                <a:gd name="connsiteY0" fmla="*/ 40 h 10000"/>
                <a:gd name="connsiteX1" fmla="*/ 69 w 9864"/>
                <a:gd name="connsiteY1" fmla="*/ 10000 h 10000"/>
                <a:gd name="connsiteX2" fmla="*/ 8052 w 9864"/>
                <a:gd name="connsiteY2" fmla="*/ 5561 h 10000"/>
                <a:gd name="connsiteX3" fmla="*/ 9864 w 9864"/>
                <a:gd name="connsiteY3" fmla="*/ 0 h 10000"/>
                <a:gd name="connsiteX4" fmla="*/ 0 w 9864"/>
                <a:gd name="connsiteY4" fmla="*/ 40 h 10000"/>
                <a:gd name="connsiteX0" fmla="*/ 9 w 9950"/>
                <a:gd name="connsiteY0" fmla="*/ 40 h 10000"/>
                <a:gd name="connsiteX1" fmla="*/ 20 w 9950"/>
                <a:gd name="connsiteY1" fmla="*/ 10000 h 10000"/>
                <a:gd name="connsiteX2" fmla="*/ 8113 w 9950"/>
                <a:gd name="connsiteY2" fmla="*/ 5561 h 10000"/>
                <a:gd name="connsiteX3" fmla="*/ 9950 w 9950"/>
                <a:gd name="connsiteY3" fmla="*/ 0 h 10000"/>
                <a:gd name="connsiteX4" fmla="*/ 9 w 9950"/>
                <a:gd name="connsiteY4" fmla="*/ 40 h 10000"/>
                <a:gd name="connsiteX0" fmla="*/ 19 w 10010"/>
                <a:gd name="connsiteY0" fmla="*/ 40 h 10000"/>
                <a:gd name="connsiteX1" fmla="*/ 30 w 10010"/>
                <a:gd name="connsiteY1" fmla="*/ 10000 h 10000"/>
                <a:gd name="connsiteX2" fmla="*/ 8164 w 10010"/>
                <a:gd name="connsiteY2" fmla="*/ 5561 h 10000"/>
                <a:gd name="connsiteX3" fmla="*/ 10010 w 10010"/>
                <a:gd name="connsiteY3" fmla="*/ 0 h 10000"/>
                <a:gd name="connsiteX4" fmla="*/ 19 w 10010"/>
                <a:gd name="connsiteY4" fmla="*/ 40 h 10000"/>
                <a:gd name="connsiteX0" fmla="*/ 0 w 9991"/>
                <a:gd name="connsiteY0" fmla="*/ 40 h 10000"/>
                <a:gd name="connsiteX1" fmla="*/ 11 w 9991"/>
                <a:gd name="connsiteY1" fmla="*/ 10000 h 10000"/>
                <a:gd name="connsiteX2" fmla="*/ 8145 w 9991"/>
                <a:gd name="connsiteY2" fmla="*/ 5561 h 10000"/>
                <a:gd name="connsiteX3" fmla="*/ 9991 w 9991"/>
                <a:gd name="connsiteY3" fmla="*/ 0 h 10000"/>
                <a:gd name="connsiteX4" fmla="*/ 0 w 9991"/>
                <a:gd name="connsiteY4" fmla="*/ 40 h 10000"/>
                <a:gd name="connsiteX0" fmla="*/ 11 w 10011"/>
                <a:gd name="connsiteY0" fmla="*/ 40 h 10188"/>
                <a:gd name="connsiteX1" fmla="*/ 0 w 10011"/>
                <a:gd name="connsiteY1" fmla="*/ 10188 h 10188"/>
                <a:gd name="connsiteX2" fmla="*/ 8163 w 10011"/>
                <a:gd name="connsiteY2" fmla="*/ 5561 h 10188"/>
                <a:gd name="connsiteX3" fmla="*/ 10011 w 10011"/>
                <a:gd name="connsiteY3" fmla="*/ 0 h 10188"/>
                <a:gd name="connsiteX4" fmla="*/ 11 w 10011"/>
                <a:gd name="connsiteY4" fmla="*/ 40 h 101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11" h="10188">
                  <a:moveTo>
                    <a:pt x="11" y="40"/>
                  </a:moveTo>
                  <a:cubicBezTo>
                    <a:pt x="15" y="3295"/>
                    <a:pt x="2" y="6839"/>
                    <a:pt x="0" y="10188"/>
                  </a:cubicBezTo>
                  <a:lnTo>
                    <a:pt x="8163" y="5561"/>
                  </a:lnTo>
                  <a:lnTo>
                    <a:pt x="10011" y="0"/>
                  </a:lnTo>
                  <a:lnTo>
                    <a:pt x="11" y="40"/>
                  </a:lnTo>
                  <a:close/>
                </a:path>
              </a:pathLst>
            </a:custGeom>
            <a:solidFill>
              <a:srgbClr val="2C41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2542" tIns="56271" rIns="112542" bIns="56271" numCol="1" anchor="t" anchorCtr="0" compatLnSpc="1">
              <a:prstTxWarp prst="textNoShape">
                <a:avLst/>
              </a:prstTxWarp>
            </a:bodyPr>
            <a:lstStyle/>
            <a:p>
              <a:endParaRPr lang="ru-RU" sz="1600"/>
            </a:p>
          </p:txBody>
        </p:sp>
        <p:sp>
          <p:nvSpPr>
            <p:cNvPr id="22" name="Freeform 6"/>
            <p:cNvSpPr>
              <a:spLocks/>
            </p:cNvSpPr>
            <p:nvPr userDrawn="1"/>
          </p:nvSpPr>
          <p:spPr bwMode="auto">
            <a:xfrm>
              <a:off x="-34838" y="-38715"/>
              <a:ext cx="9011158" cy="801026"/>
            </a:xfrm>
            <a:custGeom>
              <a:avLst/>
              <a:gdLst>
                <a:gd name="T0" fmla="*/ 0 w 5214"/>
                <a:gd name="T1" fmla="*/ 0 h 2191"/>
                <a:gd name="T2" fmla="*/ 0 w 5214"/>
                <a:gd name="T3" fmla="*/ 2191 h 2191"/>
                <a:gd name="T4" fmla="*/ 5214 w 5214"/>
                <a:gd name="T5" fmla="*/ 0 h 2191"/>
                <a:gd name="T6" fmla="*/ 0 w 5214"/>
                <a:gd name="T7" fmla="*/ 0 h 2191"/>
                <a:gd name="connsiteX0" fmla="*/ 0 w 10000"/>
                <a:gd name="connsiteY0" fmla="*/ 0 h 4612"/>
                <a:gd name="connsiteX1" fmla="*/ 5345 w 10000"/>
                <a:gd name="connsiteY1" fmla="*/ 4612 h 4612"/>
                <a:gd name="connsiteX2" fmla="*/ 10000 w 10000"/>
                <a:gd name="connsiteY2" fmla="*/ 0 h 4612"/>
                <a:gd name="connsiteX3" fmla="*/ 0 w 10000"/>
                <a:gd name="connsiteY3" fmla="*/ 0 h 4612"/>
                <a:gd name="connsiteX0" fmla="*/ 0 w 4684"/>
                <a:gd name="connsiteY0" fmla="*/ 74 h 10000"/>
                <a:gd name="connsiteX1" fmla="*/ 29 w 4684"/>
                <a:gd name="connsiteY1" fmla="*/ 10000 h 10000"/>
                <a:gd name="connsiteX2" fmla="*/ 4684 w 4684"/>
                <a:gd name="connsiteY2" fmla="*/ 0 h 10000"/>
                <a:gd name="connsiteX3" fmla="*/ 0 w 4684"/>
                <a:gd name="connsiteY3" fmla="*/ 74 h 10000"/>
                <a:gd name="connsiteX0" fmla="*/ 0 w 10000"/>
                <a:gd name="connsiteY0" fmla="*/ 74 h 9961"/>
                <a:gd name="connsiteX1" fmla="*/ 140 w 10000"/>
                <a:gd name="connsiteY1" fmla="*/ 9961 h 9961"/>
                <a:gd name="connsiteX2" fmla="*/ 10000 w 10000"/>
                <a:gd name="connsiteY2" fmla="*/ 0 h 9961"/>
                <a:gd name="connsiteX3" fmla="*/ 0 w 10000"/>
                <a:gd name="connsiteY3" fmla="*/ 74 h 9961"/>
                <a:gd name="connsiteX0" fmla="*/ 9 w 9866"/>
                <a:gd name="connsiteY0" fmla="*/ 0 h 10081"/>
                <a:gd name="connsiteX1" fmla="*/ 6 w 9866"/>
                <a:gd name="connsiteY1" fmla="*/ 10081 h 10081"/>
                <a:gd name="connsiteX2" fmla="*/ 9866 w 9866"/>
                <a:gd name="connsiteY2" fmla="*/ 81 h 10081"/>
                <a:gd name="connsiteX3" fmla="*/ 9 w 9866"/>
                <a:gd name="connsiteY3" fmla="*/ 0 h 10081"/>
                <a:gd name="connsiteX0" fmla="*/ 9 w 10000"/>
                <a:gd name="connsiteY0" fmla="*/ 36 h 9920"/>
                <a:gd name="connsiteX1" fmla="*/ 6 w 10000"/>
                <a:gd name="connsiteY1" fmla="*/ 9920 h 9920"/>
                <a:gd name="connsiteX2" fmla="*/ 10000 w 10000"/>
                <a:gd name="connsiteY2" fmla="*/ 0 h 9920"/>
                <a:gd name="connsiteX3" fmla="*/ 9 w 10000"/>
                <a:gd name="connsiteY3" fmla="*/ 36 h 9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000" h="9920">
                  <a:moveTo>
                    <a:pt x="9" y="36"/>
                  </a:moveTo>
                  <a:cubicBezTo>
                    <a:pt x="30" y="3331"/>
                    <a:pt x="-15" y="6625"/>
                    <a:pt x="6" y="9920"/>
                  </a:cubicBezTo>
                  <a:lnTo>
                    <a:pt x="10000" y="0"/>
                  </a:lnTo>
                  <a:lnTo>
                    <a:pt x="9" y="3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112542" tIns="56271" rIns="112542" bIns="56271" numCol="1" anchor="t" anchorCtr="0" compatLnSpc="1">
              <a:prstTxWarp prst="textNoShape">
                <a:avLst/>
              </a:prstTxWarp>
            </a:bodyPr>
            <a:lstStyle/>
            <a:p>
              <a:endParaRPr lang="ru-RU" sz="1600" dirty="0"/>
            </a:p>
          </p:txBody>
        </p:sp>
        <p:sp>
          <p:nvSpPr>
            <p:cNvPr id="23" name="Freeform 9"/>
            <p:cNvSpPr>
              <a:spLocks/>
            </p:cNvSpPr>
            <p:nvPr/>
          </p:nvSpPr>
          <p:spPr bwMode="auto">
            <a:xfrm>
              <a:off x="-49164" y="-47003"/>
              <a:ext cx="7696089" cy="846767"/>
            </a:xfrm>
            <a:custGeom>
              <a:avLst/>
              <a:gdLst>
                <a:gd name="T0" fmla="*/ 0 w 4051"/>
                <a:gd name="T1" fmla="*/ 0 h 1363"/>
                <a:gd name="T2" fmla="*/ 0 w 4051"/>
                <a:gd name="T3" fmla="*/ 1363 h 1363"/>
                <a:gd name="T4" fmla="*/ 4051 w 4051"/>
                <a:gd name="T5" fmla="*/ 0 h 1363"/>
                <a:gd name="T6" fmla="*/ 0 w 4051"/>
                <a:gd name="T7" fmla="*/ 0 h 1363"/>
                <a:gd name="connsiteX0" fmla="*/ 6861 w 10000"/>
                <a:gd name="connsiteY0" fmla="*/ 0 h 10164"/>
                <a:gd name="connsiteX1" fmla="*/ 0 w 10000"/>
                <a:gd name="connsiteY1" fmla="*/ 10164 h 10164"/>
                <a:gd name="connsiteX2" fmla="*/ 10000 w 10000"/>
                <a:gd name="connsiteY2" fmla="*/ 164 h 10164"/>
                <a:gd name="connsiteX3" fmla="*/ 6861 w 10000"/>
                <a:gd name="connsiteY3" fmla="*/ 0 h 10164"/>
                <a:gd name="connsiteX0" fmla="*/ 18 w 3157"/>
                <a:gd name="connsiteY0" fmla="*/ 0 h 3312"/>
                <a:gd name="connsiteX1" fmla="*/ 0 w 3157"/>
                <a:gd name="connsiteY1" fmla="*/ 3312 h 3312"/>
                <a:gd name="connsiteX2" fmla="*/ 3157 w 3157"/>
                <a:gd name="connsiteY2" fmla="*/ 164 h 3312"/>
                <a:gd name="connsiteX3" fmla="*/ 18 w 3157"/>
                <a:gd name="connsiteY3" fmla="*/ 0 h 3312"/>
                <a:gd name="connsiteX0" fmla="*/ 57 w 10409"/>
                <a:gd name="connsiteY0" fmla="*/ 167 h 10167"/>
                <a:gd name="connsiteX1" fmla="*/ 0 w 10409"/>
                <a:gd name="connsiteY1" fmla="*/ 10167 h 10167"/>
                <a:gd name="connsiteX2" fmla="*/ 10409 w 10409"/>
                <a:gd name="connsiteY2" fmla="*/ 0 h 10167"/>
                <a:gd name="connsiteX3" fmla="*/ 57 w 10409"/>
                <a:gd name="connsiteY3" fmla="*/ 167 h 10167"/>
                <a:gd name="connsiteX0" fmla="*/ 181 w 10409"/>
                <a:gd name="connsiteY0" fmla="*/ 9 h 10269"/>
                <a:gd name="connsiteX1" fmla="*/ 0 w 10409"/>
                <a:gd name="connsiteY1" fmla="*/ 10269 h 10269"/>
                <a:gd name="connsiteX2" fmla="*/ 10409 w 10409"/>
                <a:gd name="connsiteY2" fmla="*/ 102 h 10269"/>
                <a:gd name="connsiteX3" fmla="*/ 181 w 10409"/>
                <a:gd name="connsiteY3" fmla="*/ 9 h 10269"/>
                <a:gd name="connsiteX0" fmla="*/ 3 w 10231"/>
                <a:gd name="connsiteY0" fmla="*/ 9 h 10269"/>
                <a:gd name="connsiteX1" fmla="*/ 46 w 10231"/>
                <a:gd name="connsiteY1" fmla="*/ 10269 h 10269"/>
                <a:gd name="connsiteX2" fmla="*/ 10231 w 10231"/>
                <a:gd name="connsiteY2" fmla="*/ 102 h 10269"/>
                <a:gd name="connsiteX3" fmla="*/ 3 w 10231"/>
                <a:gd name="connsiteY3" fmla="*/ 9 h 10269"/>
                <a:gd name="connsiteX0" fmla="*/ 0 w 10228"/>
                <a:gd name="connsiteY0" fmla="*/ 9 h 10269"/>
                <a:gd name="connsiteX1" fmla="*/ 43 w 10228"/>
                <a:gd name="connsiteY1" fmla="*/ 10269 h 10269"/>
                <a:gd name="connsiteX2" fmla="*/ 10228 w 10228"/>
                <a:gd name="connsiteY2" fmla="*/ 102 h 10269"/>
                <a:gd name="connsiteX3" fmla="*/ 0 w 10228"/>
                <a:gd name="connsiteY3" fmla="*/ 9 h 10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228" h="10269">
                  <a:moveTo>
                    <a:pt x="0" y="9"/>
                  </a:moveTo>
                  <a:cubicBezTo>
                    <a:pt x="56" y="10013"/>
                    <a:pt x="62" y="6936"/>
                    <a:pt x="43" y="10269"/>
                  </a:cubicBezTo>
                  <a:lnTo>
                    <a:pt x="10228" y="102"/>
                  </a:lnTo>
                  <a:cubicBezTo>
                    <a:pt x="6777" y="158"/>
                    <a:pt x="3451" y="-47"/>
                    <a:pt x="0" y="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112542" tIns="56271" rIns="112542" bIns="56271" numCol="1" anchor="t" anchorCtr="0" compatLnSpc="1">
              <a:prstTxWarp prst="textNoShape">
                <a:avLst/>
              </a:prstTxWarp>
            </a:bodyPr>
            <a:lstStyle/>
            <a:p>
              <a:endParaRPr lang="ru-RU" sz="1600"/>
            </a:p>
          </p:txBody>
        </p:sp>
        <p:sp>
          <p:nvSpPr>
            <p:cNvPr id="24" name="Freeform 6"/>
            <p:cNvSpPr>
              <a:spLocks/>
            </p:cNvSpPr>
            <p:nvPr/>
          </p:nvSpPr>
          <p:spPr bwMode="auto">
            <a:xfrm>
              <a:off x="-34838" y="-38715"/>
              <a:ext cx="8147061" cy="529742"/>
            </a:xfrm>
            <a:custGeom>
              <a:avLst/>
              <a:gdLst>
                <a:gd name="T0" fmla="*/ 0 w 5214"/>
                <a:gd name="T1" fmla="*/ 0 h 2191"/>
                <a:gd name="T2" fmla="*/ 0 w 5214"/>
                <a:gd name="T3" fmla="*/ 2191 h 2191"/>
                <a:gd name="T4" fmla="*/ 5214 w 5214"/>
                <a:gd name="T5" fmla="*/ 0 h 2191"/>
                <a:gd name="T6" fmla="*/ 0 w 5214"/>
                <a:gd name="T7" fmla="*/ 0 h 2191"/>
                <a:gd name="connsiteX0" fmla="*/ 0 w 10000"/>
                <a:gd name="connsiteY0" fmla="*/ 0 h 4612"/>
                <a:gd name="connsiteX1" fmla="*/ 5345 w 10000"/>
                <a:gd name="connsiteY1" fmla="*/ 4612 h 4612"/>
                <a:gd name="connsiteX2" fmla="*/ 10000 w 10000"/>
                <a:gd name="connsiteY2" fmla="*/ 0 h 4612"/>
                <a:gd name="connsiteX3" fmla="*/ 0 w 10000"/>
                <a:gd name="connsiteY3" fmla="*/ 0 h 4612"/>
                <a:gd name="connsiteX0" fmla="*/ 0 w 4684"/>
                <a:gd name="connsiteY0" fmla="*/ 74 h 10000"/>
                <a:gd name="connsiteX1" fmla="*/ 29 w 4684"/>
                <a:gd name="connsiteY1" fmla="*/ 10000 h 10000"/>
                <a:gd name="connsiteX2" fmla="*/ 4684 w 4684"/>
                <a:gd name="connsiteY2" fmla="*/ 0 h 10000"/>
                <a:gd name="connsiteX3" fmla="*/ 0 w 4684"/>
                <a:gd name="connsiteY3" fmla="*/ 74 h 10000"/>
                <a:gd name="connsiteX0" fmla="*/ 0 w 10000"/>
                <a:gd name="connsiteY0" fmla="*/ 74 h 9961"/>
                <a:gd name="connsiteX1" fmla="*/ 140 w 10000"/>
                <a:gd name="connsiteY1" fmla="*/ 9961 h 9961"/>
                <a:gd name="connsiteX2" fmla="*/ 10000 w 10000"/>
                <a:gd name="connsiteY2" fmla="*/ 0 h 9961"/>
                <a:gd name="connsiteX3" fmla="*/ 0 w 10000"/>
                <a:gd name="connsiteY3" fmla="*/ 74 h 9961"/>
                <a:gd name="connsiteX0" fmla="*/ 9 w 9866"/>
                <a:gd name="connsiteY0" fmla="*/ 0 h 10081"/>
                <a:gd name="connsiteX1" fmla="*/ 6 w 9866"/>
                <a:gd name="connsiteY1" fmla="*/ 10081 h 10081"/>
                <a:gd name="connsiteX2" fmla="*/ 9866 w 9866"/>
                <a:gd name="connsiteY2" fmla="*/ 81 h 10081"/>
                <a:gd name="connsiteX3" fmla="*/ 9 w 9866"/>
                <a:gd name="connsiteY3" fmla="*/ 0 h 10081"/>
                <a:gd name="connsiteX0" fmla="*/ 9 w 10000"/>
                <a:gd name="connsiteY0" fmla="*/ 36 h 9920"/>
                <a:gd name="connsiteX1" fmla="*/ 6 w 10000"/>
                <a:gd name="connsiteY1" fmla="*/ 9920 h 9920"/>
                <a:gd name="connsiteX2" fmla="*/ 10000 w 10000"/>
                <a:gd name="connsiteY2" fmla="*/ 0 h 9920"/>
                <a:gd name="connsiteX3" fmla="*/ 9 w 10000"/>
                <a:gd name="connsiteY3" fmla="*/ 36 h 9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000" h="9920">
                  <a:moveTo>
                    <a:pt x="9" y="36"/>
                  </a:moveTo>
                  <a:cubicBezTo>
                    <a:pt x="30" y="3331"/>
                    <a:pt x="-15" y="6625"/>
                    <a:pt x="6" y="9920"/>
                  </a:cubicBezTo>
                  <a:lnTo>
                    <a:pt x="10000" y="0"/>
                  </a:lnTo>
                  <a:lnTo>
                    <a:pt x="9" y="36"/>
                  </a:lnTo>
                  <a:close/>
                </a:path>
              </a:pathLst>
            </a:custGeom>
            <a:solidFill>
              <a:srgbClr val="B128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2542" tIns="56271" rIns="112542" bIns="56271" numCol="1" anchor="t" anchorCtr="0" compatLnSpc="1">
              <a:prstTxWarp prst="textNoShape">
                <a:avLst/>
              </a:prstTxWarp>
            </a:bodyPr>
            <a:lstStyle/>
            <a:p>
              <a:endParaRPr lang="ru-RU" sz="1600" dirty="0"/>
            </a:p>
          </p:txBody>
        </p:sp>
      </p:grpSp>
      <p:sp>
        <p:nvSpPr>
          <p:cNvPr id="10" name="Banderole Bottom"/>
          <p:cNvSpPr>
            <a:spLocks/>
          </p:cNvSpPr>
          <p:nvPr>
            <p:custDataLst>
              <p:tags r:id="rId1"/>
            </p:custDataLst>
          </p:nvPr>
        </p:nvSpPr>
        <p:spPr>
          <a:xfrm>
            <a:off x="0" y="6602401"/>
            <a:ext cx="12192000" cy="263283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600" b="0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84" name="Title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902677" y="856801"/>
            <a:ext cx="10505831" cy="773999"/>
          </a:xfrm>
        </p:spPr>
        <p:txBody>
          <a:bodyPr>
            <a:noAutofit/>
          </a:bodyPr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5" name="Slide Number"/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11416792" y="117967"/>
            <a:ext cx="5307862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900" b="0" smtClean="0"/>
            </a:lvl1pPr>
          </a:lstStyle>
          <a:p>
            <a:pPr marL="0" marR="0" lvl="0" indent="0" algn="l" defTabSz="112544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AA7B471-74A3-4F5F-8955-6C99E2375CAC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pPr marL="0" marR="0" lvl="0" indent="0" algn="l" defTabSz="112544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nderole Bottom"/>
          <p:cNvSpPr>
            <a:spLocks/>
          </p:cNvSpPr>
          <p:nvPr>
            <p:custDataLst>
              <p:tags r:id="rId1"/>
            </p:custDataLst>
          </p:nvPr>
        </p:nvSpPr>
        <p:spPr>
          <a:xfrm>
            <a:off x="0" y="6602401"/>
            <a:ext cx="12192000" cy="263283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600" b="0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8" name="Slide Number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11708432" y="164667"/>
            <a:ext cx="530786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900" b="0" smtClean="0"/>
            </a:lvl1pPr>
          </a:lstStyle>
          <a:p>
            <a:pPr marL="0" marR="0" lvl="0" indent="0" algn="l" defTabSz="112544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AA7B471-74A3-4F5F-8955-6C99E2375CAC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pPr marL="0" marR="0" lvl="0" indent="0" algn="l" defTabSz="112544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+mn-lt"/>
              <a:ea typeface="+mn-ea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Location, date"/>
          <p:cNvSpPr>
            <a:spLocks noGrp="1"/>
          </p:cNvSpPr>
          <p:nvPr>
            <p:ph type="body" sz="quarter" idx="14" hasCustomPrompt="1"/>
            <p:custDataLst>
              <p:tags r:id="rId1"/>
            </p:custDataLst>
          </p:nvPr>
        </p:nvSpPr>
        <p:spPr>
          <a:xfrm>
            <a:off x="1444431" y="6066000"/>
            <a:ext cx="9441968" cy="370800"/>
          </a:xfrm>
        </p:spPr>
        <p:txBody>
          <a:bodyPr vert="horz" wrap="square" lIns="28800" tIns="0" rIns="0" bIns="0" rtlCol="0" anchor="b" anchorCtr="0">
            <a:noAutofit/>
          </a:bodyPr>
          <a:lstStyle>
            <a:lvl1pPr marL="0" indent="0">
              <a:lnSpc>
                <a:spcPct val="93000"/>
              </a:lnSpc>
              <a:spcBef>
                <a:spcPts val="0"/>
              </a:spcBef>
              <a:defRPr kumimoji="0" lang="en-US" sz="2092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defRPr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marL="0" marR="0" lvl="0" indent="0" algn="l" defTabSz="1125444" rtl="0" eaLnBrk="1" fontAlgn="auto" latinLnBrk="0" hangingPunct="1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Location, date of presentation (month, day, year)</a:t>
            </a:r>
          </a:p>
        </p:txBody>
      </p:sp>
      <p:sp>
        <p:nvSpPr>
          <p:cNvPr id="5" name="Type of document"/>
          <p:cNvSpPr>
            <a:spLocks noGrp="1"/>
          </p:cNvSpPr>
          <p:nvPr>
            <p:ph type="body" sz="quarter" idx="15" hasCustomPrompt="1"/>
            <p:custDataLst>
              <p:tags r:id="rId2"/>
            </p:custDataLst>
          </p:nvPr>
        </p:nvSpPr>
        <p:spPr>
          <a:xfrm>
            <a:off x="1444431" y="4566721"/>
            <a:ext cx="9441968" cy="799487"/>
          </a:xfrm>
        </p:spPr>
        <p:txBody>
          <a:bodyPr vert="horz" lIns="14400" tIns="0" rIns="0" bIns="216000" rtlCol="0" anchor="t" anchorCtr="0">
            <a:spAutoFit/>
          </a:bodyPr>
          <a:lstStyle>
            <a:lvl1pPr marL="0" indent="0">
              <a:lnSpc>
                <a:spcPct val="93000"/>
              </a:lnSpc>
              <a:spcBef>
                <a:spcPts val="0"/>
              </a:spcBef>
              <a:defRPr kumimoji="0" lang="en-US" sz="4062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1125444" rtl="0" eaLnBrk="1" fontAlgn="auto" latinLnBrk="0" hangingPunct="1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Type of document</a:t>
            </a:r>
          </a:p>
        </p:txBody>
      </p:sp>
      <p:sp>
        <p:nvSpPr>
          <p:cNvPr id="6" name="Project name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444431" y="3498550"/>
            <a:ext cx="9441968" cy="1003801"/>
          </a:xfrm>
        </p:spPr>
        <p:txBody>
          <a:bodyPr vert="horz" lIns="0" tIns="0" rIns="0" bIns="0" rtlCol="0" anchor="b" anchorCtr="0">
            <a:spAutoFit/>
          </a:bodyPr>
          <a:lstStyle>
            <a:lvl1pPr algn="l">
              <a:lnSpc>
                <a:spcPct val="93000"/>
              </a:lnSpc>
              <a:spcBef>
                <a:spcPts val="0"/>
              </a:spcBef>
              <a:defRPr kumimoji="0" lang="en-US" sz="6523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11254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Title</a:t>
            </a:r>
          </a:p>
        </p:txBody>
      </p:sp>
      <p:sp>
        <p:nvSpPr>
          <p:cNvPr id="14" name="Slide Number"/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11708432" y="164667"/>
            <a:ext cx="5307862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900" b="0" smtClean="0"/>
            </a:lvl1pPr>
          </a:lstStyle>
          <a:p>
            <a:pPr marL="0" marR="0" lvl="0" indent="0" algn="l" defTabSz="112544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AA7B471-74A3-4F5F-8955-6C99E2375CAC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pPr marL="0" marR="0" lvl="0" indent="0" algn="l" defTabSz="112544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+mn-lt"/>
              <a:ea typeface="+mn-ea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Группа 29"/>
          <p:cNvGrpSpPr/>
          <p:nvPr userDrawn="1"/>
        </p:nvGrpSpPr>
        <p:grpSpPr>
          <a:xfrm>
            <a:off x="-49164" y="-47003"/>
            <a:ext cx="12251487" cy="846767"/>
            <a:chOff x="-49164" y="-47003"/>
            <a:chExt cx="12251487" cy="846767"/>
          </a:xfrm>
        </p:grpSpPr>
        <p:sp>
          <p:nvSpPr>
            <p:cNvPr id="31" name="Freeform 8"/>
            <p:cNvSpPr>
              <a:spLocks/>
            </p:cNvSpPr>
            <p:nvPr/>
          </p:nvSpPr>
          <p:spPr bwMode="auto">
            <a:xfrm flipH="1">
              <a:off x="1775518" y="-47003"/>
              <a:ext cx="10426805" cy="606941"/>
            </a:xfrm>
            <a:custGeom>
              <a:avLst/>
              <a:gdLst>
                <a:gd name="T0" fmla="*/ 0 w 4406"/>
                <a:gd name="T1" fmla="*/ 0 h 1436"/>
                <a:gd name="T2" fmla="*/ 0 w 4406"/>
                <a:gd name="T3" fmla="*/ 1436 h 1436"/>
                <a:gd name="T4" fmla="*/ 4110 w 4406"/>
                <a:gd name="T5" fmla="*/ 405 h 1436"/>
                <a:gd name="T6" fmla="*/ 4406 w 4406"/>
                <a:gd name="T7" fmla="*/ 0 h 1436"/>
                <a:gd name="T8" fmla="*/ 0 w 4406"/>
                <a:gd name="T9" fmla="*/ 0 h 1436"/>
                <a:gd name="connsiteX0" fmla="*/ 0 w 10000"/>
                <a:gd name="connsiteY0" fmla="*/ 0 h 5109"/>
                <a:gd name="connsiteX1" fmla="*/ 6359 w 10000"/>
                <a:gd name="connsiteY1" fmla="*/ 5109 h 5109"/>
                <a:gd name="connsiteX2" fmla="*/ 9328 w 10000"/>
                <a:gd name="connsiteY2" fmla="*/ 2820 h 5109"/>
                <a:gd name="connsiteX3" fmla="*/ 10000 w 10000"/>
                <a:gd name="connsiteY3" fmla="*/ 0 h 5109"/>
                <a:gd name="connsiteX4" fmla="*/ 0 w 10000"/>
                <a:gd name="connsiteY4" fmla="*/ 0 h 5109"/>
                <a:gd name="connsiteX0" fmla="*/ 0 w 3709"/>
                <a:gd name="connsiteY0" fmla="*/ 306 h 10000"/>
                <a:gd name="connsiteX1" fmla="*/ 68 w 3709"/>
                <a:gd name="connsiteY1" fmla="*/ 10000 h 10000"/>
                <a:gd name="connsiteX2" fmla="*/ 3037 w 3709"/>
                <a:gd name="connsiteY2" fmla="*/ 5520 h 10000"/>
                <a:gd name="connsiteX3" fmla="*/ 3709 w 3709"/>
                <a:gd name="connsiteY3" fmla="*/ 0 h 10000"/>
                <a:gd name="connsiteX4" fmla="*/ 0 w 3709"/>
                <a:gd name="connsiteY4" fmla="*/ 306 h 10000"/>
                <a:gd name="connsiteX0" fmla="*/ 0 w 10000"/>
                <a:gd name="connsiteY0" fmla="*/ 306 h 9927"/>
                <a:gd name="connsiteX1" fmla="*/ 49 w 10000"/>
                <a:gd name="connsiteY1" fmla="*/ 9927 h 9927"/>
                <a:gd name="connsiteX2" fmla="*/ 8188 w 10000"/>
                <a:gd name="connsiteY2" fmla="*/ 5520 h 9927"/>
                <a:gd name="connsiteX3" fmla="*/ 10000 w 10000"/>
                <a:gd name="connsiteY3" fmla="*/ 0 h 9927"/>
                <a:gd name="connsiteX4" fmla="*/ 0 w 10000"/>
                <a:gd name="connsiteY4" fmla="*/ 306 h 9927"/>
                <a:gd name="connsiteX0" fmla="*/ 0 w 10000"/>
                <a:gd name="connsiteY0" fmla="*/ 308 h 10000"/>
                <a:gd name="connsiteX1" fmla="*/ 205 w 10000"/>
                <a:gd name="connsiteY1" fmla="*/ 10000 h 10000"/>
                <a:gd name="connsiteX2" fmla="*/ 8188 w 10000"/>
                <a:gd name="connsiteY2" fmla="*/ 5561 h 10000"/>
                <a:gd name="connsiteX3" fmla="*/ 10000 w 10000"/>
                <a:gd name="connsiteY3" fmla="*/ 0 h 10000"/>
                <a:gd name="connsiteX4" fmla="*/ 0 w 10000"/>
                <a:gd name="connsiteY4" fmla="*/ 308 h 10000"/>
                <a:gd name="connsiteX0" fmla="*/ 0 w 9864"/>
                <a:gd name="connsiteY0" fmla="*/ 40 h 10000"/>
                <a:gd name="connsiteX1" fmla="*/ 69 w 9864"/>
                <a:gd name="connsiteY1" fmla="*/ 10000 h 10000"/>
                <a:gd name="connsiteX2" fmla="*/ 8052 w 9864"/>
                <a:gd name="connsiteY2" fmla="*/ 5561 h 10000"/>
                <a:gd name="connsiteX3" fmla="*/ 9864 w 9864"/>
                <a:gd name="connsiteY3" fmla="*/ 0 h 10000"/>
                <a:gd name="connsiteX4" fmla="*/ 0 w 9864"/>
                <a:gd name="connsiteY4" fmla="*/ 40 h 10000"/>
                <a:gd name="connsiteX0" fmla="*/ 9 w 9950"/>
                <a:gd name="connsiteY0" fmla="*/ 40 h 10000"/>
                <a:gd name="connsiteX1" fmla="*/ 20 w 9950"/>
                <a:gd name="connsiteY1" fmla="*/ 10000 h 10000"/>
                <a:gd name="connsiteX2" fmla="*/ 8113 w 9950"/>
                <a:gd name="connsiteY2" fmla="*/ 5561 h 10000"/>
                <a:gd name="connsiteX3" fmla="*/ 9950 w 9950"/>
                <a:gd name="connsiteY3" fmla="*/ 0 h 10000"/>
                <a:gd name="connsiteX4" fmla="*/ 9 w 9950"/>
                <a:gd name="connsiteY4" fmla="*/ 40 h 10000"/>
                <a:gd name="connsiteX0" fmla="*/ 19 w 10010"/>
                <a:gd name="connsiteY0" fmla="*/ 40 h 10000"/>
                <a:gd name="connsiteX1" fmla="*/ 30 w 10010"/>
                <a:gd name="connsiteY1" fmla="*/ 10000 h 10000"/>
                <a:gd name="connsiteX2" fmla="*/ 8164 w 10010"/>
                <a:gd name="connsiteY2" fmla="*/ 5561 h 10000"/>
                <a:gd name="connsiteX3" fmla="*/ 10010 w 10010"/>
                <a:gd name="connsiteY3" fmla="*/ 0 h 10000"/>
                <a:gd name="connsiteX4" fmla="*/ 19 w 10010"/>
                <a:gd name="connsiteY4" fmla="*/ 40 h 10000"/>
                <a:gd name="connsiteX0" fmla="*/ 0 w 9991"/>
                <a:gd name="connsiteY0" fmla="*/ 40 h 10000"/>
                <a:gd name="connsiteX1" fmla="*/ 11 w 9991"/>
                <a:gd name="connsiteY1" fmla="*/ 10000 h 10000"/>
                <a:gd name="connsiteX2" fmla="*/ 8145 w 9991"/>
                <a:gd name="connsiteY2" fmla="*/ 5561 h 10000"/>
                <a:gd name="connsiteX3" fmla="*/ 9991 w 9991"/>
                <a:gd name="connsiteY3" fmla="*/ 0 h 10000"/>
                <a:gd name="connsiteX4" fmla="*/ 0 w 9991"/>
                <a:gd name="connsiteY4" fmla="*/ 40 h 10000"/>
                <a:gd name="connsiteX0" fmla="*/ 11 w 10011"/>
                <a:gd name="connsiteY0" fmla="*/ 40 h 10188"/>
                <a:gd name="connsiteX1" fmla="*/ 0 w 10011"/>
                <a:gd name="connsiteY1" fmla="*/ 10188 h 10188"/>
                <a:gd name="connsiteX2" fmla="*/ 8163 w 10011"/>
                <a:gd name="connsiteY2" fmla="*/ 5561 h 10188"/>
                <a:gd name="connsiteX3" fmla="*/ 10011 w 10011"/>
                <a:gd name="connsiteY3" fmla="*/ 0 h 10188"/>
                <a:gd name="connsiteX4" fmla="*/ 11 w 10011"/>
                <a:gd name="connsiteY4" fmla="*/ 40 h 101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11" h="10188">
                  <a:moveTo>
                    <a:pt x="11" y="40"/>
                  </a:moveTo>
                  <a:cubicBezTo>
                    <a:pt x="15" y="3295"/>
                    <a:pt x="2" y="6839"/>
                    <a:pt x="0" y="10188"/>
                  </a:cubicBezTo>
                  <a:lnTo>
                    <a:pt x="8163" y="5561"/>
                  </a:lnTo>
                  <a:lnTo>
                    <a:pt x="10011" y="0"/>
                  </a:lnTo>
                  <a:lnTo>
                    <a:pt x="11" y="40"/>
                  </a:lnTo>
                  <a:close/>
                </a:path>
              </a:pathLst>
            </a:custGeom>
            <a:solidFill>
              <a:srgbClr val="2C41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2542" tIns="56271" rIns="112542" bIns="56271" numCol="1" anchor="t" anchorCtr="0" compatLnSpc="1">
              <a:prstTxWarp prst="textNoShape">
                <a:avLst/>
              </a:prstTxWarp>
            </a:bodyPr>
            <a:lstStyle/>
            <a:p>
              <a:endParaRPr lang="ru-RU" sz="1600"/>
            </a:p>
          </p:txBody>
        </p:sp>
        <p:sp>
          <p:nvSpPr>
            <p:cNvPr id="32" name="Freeform 6"/>
            <p:cNvSpPr>
              <a:spLocks/>
            </p:cNvSpPr>
            <p:nvPr userDrawn="1"/>
          </p:nvSpPr>
          <p:spPr bwMode="auto">
            <a:xfrm>
              <a:off x="-34838" y="-38715"/>
              <a:ext cx="9011158" cy="801026"/>
            </a:xfrm>
            <a:custGeom>
              <a:avLst/>
              <a:gdLst>
                <a:gd name="T0" fmla="*/ 0 w 5214"/>
                <a:gd name="T1" fmla="*/ 0 h 2191"/>
                <a:gd name="T2" fmla="*/ 0 w 5214"/>
                <a:gd name="T3" fmla="*/ 2191 h 2191"/>
                <a:gd name="T4" fmla="*/ 5214 w 5214"/>
                <a:gd name="T5" fmla="*/ 0 h 2191"/>
                <a:gd name="T6" fmla="*/ 0 w 5214"/>
                <a:gd name="T7" fmla="*/ 0 h 2191"/>
                <a:gd name="connsiteX0" fmla="*/ 0 w 10000"/>
                <a:gd name="connsiteY0" fmla="*/ 0 h 4612"/>
                <a:gd name="connsiteX1" fmla="*/ 5345 w 10000"/>
                <a:gd name="connsiteY1" fmla="*/ 4612 h 4612"/>
                <a:gd name="connsiteX2" fmla="*/ 10000 w 10000"/>
                <a:gd name="connsiteY2" fmla="*/ 0 h 4612"/>
                <a:gd name="connsiteX3" fmla="*/ 0 w 10000"/>
                <a:gd name="connsiteY3" fmla="*/ 0 h 4612"/>
                <a:gd name="connsiteX0" fmla="*/ 0 w 4684"/>
                <a:gd name="connsiteY0" fmla="*/ 74 h 10000"/>
                <a:gd name="connsiteX1" fmla="*/ 29 w 4684"/>
                <a:gd name="connsiteY1" fmla="*/ 10000 h 10000"/>
                <a:gd name="connsiteX2" fmla="*/ 4684 w 4684"/>
                <a:gd name="connsiteY2" fmla="*/ 0 h 10000"/>
                <a:gd name="connsiteX3" fmla="*/ 0 w 4684"/>
                <a:gd name="connsiteY3" fmla="*/ 74 h 10000"/>
                <a:gd name="connsiteX0" fmla="*/ 0 w 10000"/>
                <a:gd name="connsiteY0" fmla="*/ 74 h 9961"/>
                <a:gd name="connsiteX1" fmla="*/ 140 w 10000"/>
                <a:gd name="connsiteY1" fmla="*/ 9961 h 9961"/>
                <a:gd name="connsiteX2" fmla="*/ 10000 w 10000"/>
                <a:gd name="connsiteY2" fmla="*/ 0 h 9961"/>
                <a:gd name="connsiteX3" fmla="*/ 0 w 10000"/>
                <a:gd name="connsiteY3" fmla="*/ 74 h 9961"/>
                <a:gd name="connsiteX0" fmla="*/ 9 w 9866"/>
                <a:gd name="connsiteY0" fmla="*/ 0 h 10081"/>
                <a:gd name="connsiteX1" fmla="*/ 6 w 9866"/>
                <a:gd name="connsiteY1" fmla="*/ 10081 h 10081"/>
                <a:gd name="connsiteX2" fmla="*/ 9866 w 9866"/>
                <a:gd name="connsiteY2" fmla="*/ 81 h 10081"/>
                <a:gd name="connsiteX3" fmla="*/ 9 w 9866"/>
                <a:gd name="connsiteY3" fmla="*/ 0 h 10081"/>
                <a:gd name="connsiteX0" fmla="*/ 9 w 10000"/>
                <a:gd name="connsiteY0" fmla="*/ 36 h 9920"/>
                <a:gd name="connsiteX1" fmla="*/ 6 w 10000"/>
                <a:gd name="connsiteY1" fmla="*/ 9920 h 9920"/>
                <a:gd name="connsiteX2" fmla="*/ 10000 w 10000"/>
                <a:gd name="connsiteY2" fmla="*/ 0 h 9920"/>
                <a:gd name="connsiteX3" fmla="*/ 9 w 10000"/>
                <a:gd name="connsiteY3" fmla="*/ 36 h 9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000" h="9920">
                  <a:moveTo>
                    <a:pt x="9" y="36"/>
                  </a:moveTo>
                  <a:cubicBezTo>
                    <a:pt x="30" y="3331"/>
                    <a:pt x="-15" y="6625"/>
                    <a:pt x="6" y="9920"/>
                  </a:cubicBezTo>
                  <a:lnTo>
                    <a:pt x="10000" y="0"/>
                  </a:lnTo>
                  <a:lnTo>
                    <a:pt x="9" y="3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112542" tIns="56271" rIns="112542" bIns="56271" numCol="1" anchor="t" anchorCtr="0" compatLnSpc="1">
              <a:prstTxWarp prst="textNoShape">
                <a:avLst/>
              </a:prstTxWarp>
            </a:bodyPr>
            <a:lstStyle/>
            <a:p>
              <a:endParaRPr lang="ru-RU" sz="1600" dirty="0"/>
            </a:p>
          </p:txBody>
        </p:sp>
        <p:sp>
          <p:nvSpPr>
            <p:cNvPr id="33" name="Freeform 9"/>
            <p:cNvSpPr>
              <a:spLocks/>
            </p:cNvSpPr>
            <p:nvPr/>
          </p:nvSpPr>
          <p:spPr bwMode="auto">
            <a:xfrm>
              <a:off x="-49164" y="-47003"/>
              <a:ext cx="7696089" cy="846767"/>
            </a:xfrm>
            <a:custGeom>
              <a:avLst/>
              <a:gdLst>
                <a:gd name="T0" fmla="*/ 0 w 4051"/>
                <a:gd name="T1" fmla="*/ 0 h 1363"/>
                <a:gd name="T2" fmla="*/ 0 w 4051"/>
                <a:gd name="T3" fmla="*/ 1363 h 1363"/>
                <a:gd name="T4" fmla="*/ 4051 w 4051"/>
                <a:gd name="T5" fmla="*/ 0 h 1363"/>
                <a:gd name="T6" fmla="*/ 0 w 4051"/>
                <a:gd name="T7" fmla="*/ 0 h 1363"/>
                <a:gd name="connsiteX0" fmla="*/ 6861 w 10000"/>
                <a:gd name="connsiteY0" fmla="*/ 0 h 10164"/>
                <a:gd name="connsiteX1" fmla="*/ 0 w 10000"/>
                <a:gd name="connsiteY1" fmla="*/ 10164 h 10164"/>
                <a:gd name="connsiteX2" fmla="*/ 10000 w 10000"/>
                <a:gd name="connsiteY2" fmla="*/ 164 h 10164"/>
                <a:gd name="connsiteX3" fmla="*/ 6861 w 10000"/>
                <a:gd name="connsiteY3" fmla="*/ 0 h 10164"/>
                <a:gd name="connsiteX0" fmla="*/ 18 w 3157"/>
                <a:gd name="connsiteY0" fmla="*/ 0 h 3312"/>
                <a:gd name="connsiteX1" fmla="*/ 0 w 3157"/>
                <a:gd name="connsiteY1" fmla="*/ 3312 h 3312"/>
                <a:gd name="connsiteX2" fmla="*/ 3157 w 3157"/>
                <a:gd name="connsiteY2" fmla="*/ 164 h 3312"/>
                <a:gd name="connsiteX3" fmla="*/ 18 w 3157"/>
                <a:gd name="connsiteY3" fmla="*/ 0 h 3312"/>
                <a:gd name="connsiteX0" fmla="*/ 57 w 10409"/>
                <a:gd name="connsiteY0" fmla="*/ 167 h 10167"/>
                <a:gd name="connsiteX1" fmla="*/ 0 w 10409"/>
                <a:gd name="connsiteY1" fmla="*/ 10167 h 10167"/>
                <a:gd name="connsiteX2" fmla="*/ 10409 w 10409"/>
                <a:gd name="connsiteY2" fmla="*/ 0 h 10167"/>
                <a:gd name="connsiteX3" fmla="*/ 57 w 10409"/>
                <a:gd name="connsiteY3" fmla="*/ 167 h 10167"/>
                <a:gd name="connsiteX0" fmla="*/ 181 w 10409"/>
                <a:gd name="connsiteY0" fmla="*/ 9 h 10269"/>
                <a:gd name="connsiteX1" fmla="*/ 0 w 10409"/>
                <a:gd name="connsiteY1" fmla="*/ 10269 h 10269"/>
                <a:gd name="connsiteX2" fmla="*/ 10409 w 10409"/>
                <a:gd name="connsiteY2" fmla="*/ 102 h 10269"/>
                <a:gd name="connsiteX3" fmla="*/ 181 w 10409"/>
                <a:gd name="connsiteY3" fmla="*/ 9 h 10269"/>
                <a:gd name="connsiteX0" fmla="*/ 3 w 10231"/>
                <a:gd name="connsiteY0" fmla="*/ 9 h 10269"/>
                <a:gd name="connsiteX1" fmla="*/ 46 w 10231"/>
                <a:gd name="connsiteY1" fmla="*/ 10269 h 10269"/>
                <a:gd name="connsiteX2" fmla="*/ 10231 w 10231"/>
                <a:gd name="connsiteY2" fmla="*/ 102 h 10269"/>
                <a:gd name="connsiteX3" fmla="*/ 3 w 10231"/>
                <a:gd name="connsiteY3" fmla="*/ 9 h 10269"/>
                <a:gd name="connsiteX0" fmla="*/ 0 w 10228"/>
                <a:gd name="connsiteY0" fmla="*/ 9 h 10269"/>
                <a:gd name="connsiteX1" fmla="*/ 43 w 10228"/>
                <a:gd name="connsiteY1" fmla="*/ 10269 h 10269"/>
                <a:gd name="connsiteX2" fmla="*/ 10228 w 10228"/>
                <a:gd name="connsiteY2" fmla="*/ 102 h 10269"/>
                <a:gd name="connsiteX3" fmla="*/ 0 w 10228"/>
                <a:gd name="connsiteY3" fmla="*/ 9 h 10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228" h="10269">
                  <a:moveTo>
                    <a:pt x="0" y="9"/>
                  </a:moveTo>
                  <a:cubicBezTo>
                    <a:pt x="56" y="10013"/>
                    <a:pt x="62" y="6936"/>
                    <a:pt x="43" y="10269"/>
                  </a:cubicBezTo>
                  <a:lnTo>
                    <a:pt x="10228" y="102"/>
                  </a:lnTo>
                  <a:cubicBezTo>
                    <a:pt x="6777" y="158"/>
                    <a:pt x="3451" y="-47"/>
                    <a:pt x="0" y="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112542" tIns="56271" rIns="112542" bIns="56271" numCol="1" anchor="t" anchorCtr="0" compatLnSpc="1">
              <a:prstTxWarp prst="textNoShape">
                <a:avLst/>
              </a:prstTxWarp>
            </a:bodyPr>
            <a:lstStyle/>
            <a:p>
              <a:endParaRPr lang="ru-RU" sz="1600"/>
            </a:p>
          </p:txBody>
        </p:sp>
        <p:sp>
          <p:nvSpPr>
            <p:cNvPr id="34" name="Freeform 6"/>
            <p:cNvSpPr>
              <a:spLocks/>
            </p:cNvSpPr>
            <p:nvPr/>
          </p:nvSpPr>
          <p:spPr bwMode="auto">
            <a:xfrm>
              <a:off x="-34838" y="-38715"/>
              <a:ext cx="8147061" cy="529742"/>
            </a:xfrm>
            <a:custGeom>
              <a:avLst/>
              <a:gdLst>
                <a:gd name="T0" fmla="*/ 0 w 5214"/>
                <a:gd name="T1" fmla="*/ 0 h 2191"/>
                <a:gd name="T2" fmla="*/ 0 w 5214"/>
                <a:gd name="T3" fmla="*/ 2191 h 2191"/>
                <a:gd name="T4" fmla="*/ 5214 w 5214"/>
                <a:gd name="T5" fmla="*/ 0 h 2191"/>
                <a:gd name="T6" fmla="*/ 0 w 5214"/>
                <a:gd name="T7" fmla="*/ 0 h 2191"/>
                <a:gd name="connsiteX0" fmla="*/ 0 w 10000"/>
                <a:gd name="connsiteY0" fmla="*/ 0 h 4612"/>
                <a:gd name="connsiteX1" fmla="*/ 5345 w 10000"/>
                <a:gd name="connsiteY1" fmla="*/ 4612 h 4612"/>
                <a:gd name="connsiteX2" fmla="*/ 10000 w 10000"/>
                <a:gd name="connsiteY2" fmla="*/ 0 h 4612"/>
                <a:gd name="connsiteX3" fmla="*/ 0 w 10000"/>
                <a:gd name="connsiteY3" fmla="*/ 0 h 4612"/>
                <a:gd name="connsiteX0" fmla="*/ 0 w 4684"/>
                <a:gd name="connsiteY0" fmla="*/ 74 h 10000"/>
                <a:gd name="connsiteX1" fmla="*/ 29 w 4684"/>
                <a:gd name="connsiteY1" fmla="*/ 10000 h 10000"/>
                <a:gd name="connsiteX2" fmla="*/ 4684 w 4684"/>
                <a:gd name="connsiteY2" fmla="*/ 0 h 10000"/>
                <a:gd name="connsiteX3" fmla="*/ 0 w 4684"/>
                <a:gd name="connsiteY3" fmla="*/ 74 h 10000"/>
                <a:gd name="connsiteX0" fmla="*/ 0 w 10000"/>
                <a:gd name="connsiteY0" fmla="*/ 74 h 9961"/>
                <a:gd name="connsiteX1" fmla="*/ 140 w 10000"/>
                <a:gd name="connsiteY1" fmla="*/ 9961 h 9961"/>
                <a:gd name="connsiteX2" fmla="*/ 10000 w 10000"/>
                <a:gd name="connsiteY2" fmla="*/ 0 h 9961"/>
                <a:gd name="connsiteX3" fmla="*/ 0 w 10000"/>
                <a:gd name="connsiteY3" fmla="*/ 74 h 9961"/>
                <a:gd name="connsiteX0" fmla="*/ 9 w 9866"/>
                <a:gd name="connsiteY0" fmla="*/ 0 h 10081"/>
                <a:gd name="connsiteX1" fmla="*/ 6 w 9866"/>
                <a:gd name="connsiteY1" fmla="*/ 10081 h 10081"/>
                <a:gd name="connsiteX2" fmla="*/ 9866 w 9866"/>
                <a:gd name="connsiteY2" fmla="*/ 81 h 10081"/>
                <a:gd name="connsiteX3" fmla="*/ 9 w 9866"/>
                <a:gd name="connsiteY3" fmla="*/ 0 h 10081"/>
                <a:gd name="connsiteX0" fmla="*/ 9 w 10000"/>
                <a:gd name="connsiteY0" fmla="*/ 36 h 9920"/>
                <a:gd name="connsiteX1" fmla="*/ 6 w 10000"/>
                <a:gd name="connsiteY1" fmla="*/ 9920 h 9920"/>
                <a:gd name="connsiteX2" fmla="*/ 10000 w 10000"/>
                <a:gd name="connsiteY2" fmla="*/ 0 h 9920"/>
                <a:gd name="connsiteX3" fmla="*/ 9 w 10000"/>
                <a:gd name="connsiteY3" fmla="*/ 36 h 9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000" h="9920">
                  <a:moveTo>
                    <a:pt x="9" y="36"/>
                  </a:moveTo>
                  <a:cubicBezTo>
                    <a:pt x="30" y="3331"/>
                    <a:pt x="-15" y="6625"/>
                    <a:pt x="6" y="9920"/>
                  </a:cubicBezTo>
                  <a:lnTo>
                    <a:pt x="10000" y="0"/>
                  </a:lnTo>
                  <a:lnTo>
                    <a:pt x="9" y="36"/>
                  </a:lnTo>
                  <a:close/>
                </a:path>
              </a:pathLst>
            </a:custGeom>
            <a:solidFill>
              <a:srgbClr val="B128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2542" tIns="56271" rIns="112542" bIns="56271" numCol="1" anchor="t" anchorCtr="0" compatLnSpc="1">
              <a:prstTxWarp prst="textNoShape">
                <a:avLst/>
              </a:prstTxWarp>
            </a:bodyPr>
            <a:lstStyle/>
            <a:p>
              <a:endParaRPr lang="ru-RU" sz="1600" dirty="0"/>
            </a:p>
          </p:txBody>
        </p:sp>
      </p:grpSp>
      <p:sp>
        <p:nvSpPr>
          <p:cNvPr id="9" name="Banderole Bottom"/>
          <p:cNvSpPr>
            <a:spLocks/>
          </p:cNvSpPr>
          <p:nvPr>
            <p:custDataLst>
              <p:tags r:id="rId1"/>
            </p:custDataLst>
          </p:nvPr>
        </p:nvSpPr>
        <p:spPr>
          <a:xfrm>
            <a:off x="0" y="6600825"/>
            <a:ext cx="12192000" cy="266700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600" b="0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52" name="Slide Number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1551139" y="6718300"/>
            <a:ext cx="141064" cy="1704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900" b="0" smtClean="0"/>
            </a:lvl1pPr>
          </a:lstStyle>
          <a:p>
            <a:pPr marL="0" marR="0" lvl="0" indent="0" algn="l" defTabSz="112544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AA7B471-74A3-4F5F-8955-6C99E2375CAC}" type="slidenum">
              <a:rPr kumimoji="0" lang="en-US" sz="1108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pPr marL="0" marR="0" lvl="0" indent="0" algn="l" defTabSz="112544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08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itchFamily="34" charset="0"/>
            </a:endParaRPr>
          </a:p>
        </p:txBody>
      </p:sp>
      <p:sp>
        <p:nvSpPr>
          <p:cNvPr id="56" name="Slide Number Line"/>
          <p:cNvSpPr>
            <a:spLocks noChangeShapeType="1"/>
          </p:cNvSpPr>
          <p:nvPr>
            <p:custDataLst>
              <p:tags r:id="rId3"/>
            </p:custDataLst>
          </p:nvPr>
        </p:nvSpPr>
        <p:spPr bwMode="auto">
          <a:xfrm>
            <a:off x="11408508" y="6734176"/>
            <a:ext cx="0" cy="12382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endParaRPr lang="en-US" sz="16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Contents Text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902807" y="1996522"/>
            <a:ext cx="10511563" cy="4240263"/>
          </a:xfrm>
        </p:spPr>
        <p:txBody>
          <a:bodyPr>
            <a:spAutoFit/>
          </a:bodyPr>
          <a:lstStyle>
            <a:lvl1pPr marL="443088" indent="-443088">
              <a:spcBef>
                <a:spcPts val="2462"/>
              </a:spcBef>
              <a:tabLst>
                <a:tab pos="10488508" algn="r"/>
              </a:tabLst>
              <a:defRPr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  <a:lvl2pPr marL="886176" indent="-443088">
              <a:spcBef>
                <a:spcPts val="738"/>
              </a:spcBef>
              <a:buNone/>
              <a:tabLst>
                <a:tab pos="10488508" algn="r"/>
              </a:tabLst>
              <a:defRPr b="0">
                <a:solidFill>
                  <a:schemeClr val="tx1"/>
                </a:solidFill>
              </a:defRPr>
            </a:lvl2pPr>
            <a:lvl3pPr marL="1550808" indent="-664632">
              <a:spcBef>
                <a:spcPts val="0"/>
              </a:spcBef>
              <a:buNone/>
              <a:tabLst>
                <a:tab pos="10488508" algn="r"/>
              </a:tabLst>
              <a:defRPr>
                <a:solidFill>
                  <a:schemeClr val="tx1"/>
                </a:solidFill>
              </a:defRPr>
            </a:lvl3pPr>
            <a:lvl4pPr marL="1545532" indent="-658463">
              <a:buNone/>
              <a:tabLst>
                <a:tab pos="10488508" algn="r"/>
              </a:tabLst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A.	xxx	xx</a:t>
            </a:r>
          </a:p>
          <a:p>
            <a:pPr lvl="0"/>
            <a:r>
              <a:rPr lang="en-US" dirty="0"/>
              <a:t>B.	xxx	xx</a:t>
            </a:r>
          </a:p>
          <a:p>
            <a:pPr lvl="1"/>
            <a:r>
              <a:rPr lang="en-US" dirty="0"/>
              <a:t>1.	xxx	xx</a:t>
            </a:r>
          </a:p>
          <a:p>
            <a:pPr lvl="1"/>
            <a:r>
              <a:rPr lang="en-US" dirty="0"/>
              <a:t>2.	xxx	xx</a:t>
            </a:r>
          </a:p>
          <a:p>
            <a:pPr lvl="2"/>
            <a:r>
              <a:rPr lang="en-US" dirty="0"/>
              <a:t>2.1	xxx	xx</a:t>
            </a:r>
          </a:p>
          <a:p>
            <a:pPr lvl="2"/>
            <a:r>
              <a:rPr lang="en-US" dirty="0"/>
              <a:t>2.2	xxx	xx</a:t>
            </a:r>
          </a:p>
          <a:p>
            <a:pPr lvl="0"/>
            <a:r>
              <a:rPr lang="en-US" dirty="0"/>
              <a:t>C.	xxx	xx</a:t>
            </a:r>
          </a:p>
          <a:p>
            <a:pPr lvl="1"/>
            <a:r>
              <a:rPr lang="en-US" dirty="0"/>
              <a:t>1.	xxx	xx</a:t>
            </a:r>
          </a:p>
          <a:p>
            <a:pPr lvl="2"/>
            <a:r>
              <a:rPr lang="en-US" dirty="0"/>
              <a:t>1.1	xxx	xx</a:t>
            </a:r>
          </a:p>
        </p:txBody>
      </p:sp>
      <p:sp>
        <p:nvSpPr>
          <p:cNvPr id="10" name="Contents Title"/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902807" y="857851"/>
            <a:ext cx="10515470" cy="4755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>
              <a:lnSpc>
                <a:spcPct val="93000"/>
              </a:lnSpc>
              <a:defRPr/>
            </a:lvl1pPr>
          </a:lstStyle>
          <a:p>
            <a:pPr marL="0" marR="0" lvl="0" indent="0" algn="l" defTabSz="1125444" rtl="0" eaLnBrk="1" fontAlgn="auto" latinLnBrk="0" hangingPunct="1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0492416" algn="r"/>
              </a:tabLst>
              <a:defRPr/>
            </a:pPr>
            <a:r>
              <a:rPr kumimoji="0" lang="ru-RU" altLang="de-DE" sz="3323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j-ea"/>
                <a:cs typeface="Arial" pitchFamily="34" charset="0"/>
              </a:rPr>
              <a:t>Оглавление</a:t>
            </a:r>
            <a:r>
              <a:rPr kumimoji="0" lang="en-US" altLang="de-DE" sz="3323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j-ea"/>
                <a:cs typeface="Arial" pitchFamily="34" charset="0"/>
              </a:rPr>
              <a:t>	</a:t>
            </a:r>
          </a:p>
        </p:txBody>
      </p:sp>
      <p:sp>
        <p:nvSpPr>
          <p:cNvPr id="35" name="Slide Number"/>
          <p:cNvSpPr txBox="1">
            <a:spLocks noChangeArrowheads="1"/>
          </p:cNvSpPr>
          <p:nvPr userDrawn="1">
            <p:custDataLst>
              <p:tags r:id="rId6"/>
            </p:custDataLst>
          </p:nvPr>
        </p:nvSpPr>
        <p:spPr bwMode="auto">
          <a:xfrm>
            <a:off x="11416792" y="117967"/>
            <a:ext cx="5307862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900" b="0" smtClean="0"/>
            </a:lvl1pPr>
          </a:lstStyle>
          <a:p>
            <a:pPr marL="0" marR="0" lvl="0" indent="0" algn="l" defTabSz="112544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AA7B471-74A3-4F5F-8955-6C99E2375CAC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pPr marL="0" marR="0" lvl="0" indent="0" algn="l" defTabSz="112544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Position Lines"/>
          <p:cNvGrpSpPr/>
          <p:nvPr/>
        </p:nvGrpSpPr>
        <p:grpSpPr>
          <a:xfrm>
            <a:off x="907111" y="6886575"/>
            <a:ext cx="563904" cy="72000"/>
            <a:chOff x="737028" y="6886575"/>
            <a:chExt cx="458172" cy="72000"/>
          </a:xfrm>
        </p:grpSpPr>
        <p:sp>
          <p:nvSpPr>
            <p:cNvPr id="10" name="Line"/>
            <p:cNvSpPr>
              <a:spLocks noChangeShapeType="1"/>
            </p:cNvSpPr>
            <p:nvPr>
              <p:custDataLst>
                <p:tags r:id="rId7"/>
              </p:custDataLst>
            </p:nvPr>
          </p:nvSpPr>
          <p:spPr bwMode="auto">
            <a:xfrm>
              <a:off x="737028" y="6886575"/>
              <a:ext cx="0" cy="72000"/>
            </a:xfrm>
            <a:prstGeom prst="line">
              <a:avLst/>
            </a:prstGeom>
            <a:noFill/>
            <a:ln w="15875" cmpd="sng">
              <a:solidFill>
                <a:schemeClr val="accent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n-US" sz="1600" noProof="0" dirty="0"/>
            </a:p>
          </p:txBody>
        </p:sp>
        <p:sp>
          <p:nvSpPr>
            <p:cNvPr id="11" name="Line"/>
            <p:cNvSpPr>
              <a:spLocks noChangeShapeType="1"/>
            </p:cNvSpPr>
            <p:nvPr>
              <p:custDataLst>
                <p:tags r:id="rId8"/>
              </p:custDataLst>
            </p:nvPr>
          </p:nvSpPr>
          <p:spPr bwMode="auto">
            <a:xfrm>
              <a:off x="1195200" y="6886575"/>
              <a:ext cx="0" cy="72000"/>
            </a:xfrm>
            <a:prstGeom prst="line">
              <a:avLst/>
            </a:prstGeom>
            <a:noFill/>
            <a:ln w="3175" cmpd="sng">
              <a:solidFill>
                <a:schemeClr val="accent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n-US" sz="1600" noProof="0" dirty="0"/>
            </a:p>
          </p:txBody>
        </p:sp>
      </p:grpSp>
      <p:sp>
        <p:nvSpPr>
          <p:cNvPr id="13" name="Rectangle 12"/>
          <p:cNvSpPr/>
          <p:nvPr>
            <p:custDataLst>
              <p:tags r:id="rId1"/>
            </p:custDataLst>
          </p:nvPr>
        </p:nvSpPr>
        <p:spPr>
          <a:xfrm>
            <a:off x="0" y="1"/>
            <a:ext cx="12192000" cy="4445793"/>
          </a:xfrm>
          <a:prstGeom prst="rect">
            <a:avLst/>
          </a:prstGeom>
          <a:solidFill>
            <a:schemeClr val="bg1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600" b="0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/>
          <p:cNvSpPr/>
          <p:nvPr>
            <p:custDataLst>
              <p:tags r:id="rId2"/>
            </p:custDataLst>
          </p:nvPr>
        </p:nvSpPr>
        <p:spPr>
          <a:xfrm>
            <a:off x="0" y="4448176"/>
            <a:ext cx="12192000" cy="2409825"/>
          </a:xfrm>
          <a:prstGeom prst="rect">
            <a:avLst/>
          </a:prstGeom>
          <a:solidFill>
            <a:schemeClr val="accent1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600" b="0" noProof="0" dirty="0">
              <a:solidFill>
                <a:schemeClr val="tx1"/>
              </a:solidFill>
              <a:cs typeface="Arial Narrow" pitchFamily="34" charset="0"/>
            </a:endParaRPr>
          </a:p>
        </p:txBody>
      </p:sp>
      <p:sp>
        <p:nvSpPr>
          <p:cNvPr id="15" name="Line 6"/>
          <p:cNvSpPr>
            <a:spLocks noChangeShapeType="1"/>
          </p:cNvSpPr>
          <p:nvPr>
            <p:custDataLst>
              <p:tags r:id="rId3"/>
            </p:custDataLst>
          </p:nvPr>
        </p:nvSpPr>
        <p:spPr bwMode="auto">
          <a:xfrm>
            <a:off x="-2931" y="4448175"/>
            <a:ext cx="12194930" cy="0"/>
          </a:xfrm>
          <a:prstGeom prst="line">
            <a:avLst/>
          </a:prstGeom>
          <a:noFill/>
          <a:ln w="15875">
            <a:solidFill>
              <a:schemeClr val="bg1"/>
            </a:solidFill>
            <a:round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endParaRPr lang="en-US" sz="1600" noProof="0" dirty="0"/>
          </a:p>
        </p:txBody>
      </p:sp>
      <p:sp>
        <p:nvSpPr>
          <p:cNvPr id="53" name="Line 4"/>
          <p:cNvSpPr>
            <a:spLocks noChangeShapeType="1"/>
          </p:cNvSpPr>
          <p:nvPr>
            <p:custDataLst>
              <p:tags r:id="rId4"/>
            </p:custDataLst>
          </p:nvPr>
        </p:nvSpPr>
        <p:spPr bwMode="auto">
          <a:xfrm>
            <a:off x="907111" y="0"/>
            <a:ext cx="0" cy="6861562"/>
          </a:xfrm>
          <a:prstGeom prst="line">
            <a:avLst/>
          </a:prstGeom>
          <a:noFill/>
          <a:ln w="158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sz="1600" noProof="0" dirty="0"/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  <p:custDataLst>
              <p:tags r:id="rId5"/>
            </p:custDataLst>
          </p:nvPr>
        </p:nvSpPr>
        <p:spPr>
          <a:xfrm>
            <a:off x="1514001" y="3785857"/>
            <a:ext cx="9937493" cy="657337"/>
          </a:xfrm>
        </p:spPr>
        <p:txBody>
          <a:bodyPr vert="horz" wrap="square" lIns="0" tIns="0" rIns="0" bIns="180000" rtlCol="0" anchor="b" anchorCtr="0">
            <a:spAutoFit/>
          </a:bodyPr>
          <a:lstStyle>
            <a:lvl1pPr marL="668232" indent="-668232" algn="l" defTabSz="443088" rtl="0" eaLnBrk="1" latinLnBrk="0" hangingPunct="1">
              <a:lnSpc>
                <a:spcPct val="93000"/>
              </a:lnSpc>
              <a:spcBef>
                <a:spcPct val="0"/>
              </a:spcBef>
              <a:buNone/>
              <a:tabLst>
                <a:tab pos="990625" algn="l"/>
              </a:tabLst>
              <a:defRPr kumimoji="0" lang="en-US" sz="3323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668232" marR="0" lvl="0" indent="-668232" algn="l" defTabSz="443088" rtl="0" eaLnBrk="1" fontAlgn="auto" latinLnBrk="0" hangingPunct="1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990625" algn="l"/>
              </a:tabLst>
              <a:defRPr/>
            </a:pPr>
            <a:r>
              <a:rPr lang="en-US" dirty="0"/>
              <a:t>A.    Click to edit text</a:t>
            </a:r>
          </a:p>
        </p:txBody>
      </p:sp>
      <p:sp>
        <p:nvSpPr>
          <p:cNvPr id="22" name="Slide Number"/>
          <p:cNvSpPr txBox="1">
            <a:spLocks noChangeArrowheads="1"/>
          </p:cNvSpPr>
          <p:nvPr userDrawn="1">
            <p:custDataLst>
              <p:tags r:id="rId6"/>
            </p:custDataLst>
          </p:nvPr>
        </p:nvSpPr>
        <p:spPr bwMode="auto">
          <a:xfrm>
            <a:off x="11708432" y="164667"/>
            <a:ext cx="530786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900" b="0" smtClean="0"/>
            </a:lvl1pPr>
          </a:lstStyle>
          <a:p>
            <a:pPr marL="0" marR="0" lvl="0" indent="0" algn="l" defTabSz="112544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AA7B471-74A3-4F5F-8955-6C99E2375CAC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pPr marL="0" marR="0" lvl="0" indent="0" algn="l" defTabSz="112544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st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11708432" y="164667"/>
            <a:ext cx="5307862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900" b="0" smtClean="0"/>
            </a:lvl1pPr>
          </a:lstStyle>
          <a:p>
            <a:pPr marL="0" marR="0" lvl="0" indent="0" algn="l" defTabSz="112544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AA7B471-74A3-4F5F-8955-6C99E2375CAC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pPr marL="0" marR="0" lvl="0" indent="0" algn="l" defTabSz="112544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+mn-lt"/>
              <a:ea typeface="+mn-ea"/>
              <a:cs typeface="Arial" pitchFamily="34" charset="0"/>
            </a:endParaRPr>
          </a:p>
        </p:txBody>
      </p:sp>
    </p:spTree>
  </p:cSld>
  <p:clrMapOvr>
    <a:masterClrMapping/>
  </p:clrMapOvr>
  <p:hf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nderole Bottom"/>
          <p:cNvSpPr>
            <a:spLocks/>
          </p:cNvSpPr>
          <p:nvPr>
            <p:custDataLst>
              <p:tags r:id="rId1"/>
            </p:custDataLst>
          </p:nvPr>
        </p:nvSpPr>
        <p:spPr>
          <a:xfrm>
            <a:off x="0" y="6602401"/>
            <a:ext cx="12192000" cy="263283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endParaRPr lang="de-DE" sz="1600" b="0" kern="1200" noProof="0" dirty="0">
              <a:solidFill>
                <a:schemeClr val="tx1"/>
              </a:solidFill>
              <a:latin typeface="+mn-lt"/>
              <a:ea typeface="+mn-ea"/>
              <a:cs typeface="Arial Narrow" pitchFamily="34" charset="0"/>
            </a:endParaRPr>
          </a:p>
        </p:txBody>
      </p:sp>
      <p:sp>
        <p:nvSpPr>
          <p:cNvPr id="8" name="Slide Number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11708432" y="164667"/>
            <a:ext cx="5307862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900" b="0" smtClean="0"/>
            </a:lvl1pPr>
          </a:lstStyle>
          <a:p>
            <a:pPr marL="0" marR="0" lvl="0" indent="0" algn="l" defTabSz="112544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AA7B471-74A3-4F5F-8955-6C99E2375CAC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pPr marL="0" marR="0" lvl="0" indent="0" algn="l" defTabSz="112544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+mn-lt"/>
              <a:ea typeface="+mn-ea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Группа 3"/>
          <p:cNvGrpSpPr/>
          <p:nvPr userDrawn="1"/>
        </p:nvGrpSpPr>
        <p:grpSpPr>
          <a:xfrm>
            <a:off x="-49164" y="-47003"/>
            <a:ext cx="12251487" cy="846767"/>
            <a:chOff x="-49164" y="-47003"/>
            <a:chExt cx="12251487" cy="846767"/>
          </a:xfrm>
        </p:grpSpPr>
        <p:sp>
          <p:nvSpPr>
            <p:cNvPr id="21" name="Freeform 8"/>
            <p:cNvSpPr>
              <a:spLocks/>
            </p:cNvSpPr>
            <p:nvPr/>
          </p:nvSpPr>
          <p:spPr bwMode="auto">
            <a:xfrm flipH="1">
              <a:off x="1775518" y="-47003"/>
              <a:ext cx="10426805" cy="606941"/>
            </a:xfrm>
            <a:custGeom>
              <a:avLst/>
              <a:gdLst>
                <a:gd name="T0" fmla="*/ 0 w 4406"/>
                <a:gd name="T1" fmla="*/ 0 h 1436"/>
                <a:gd name="T2" fmla="*/ 0 w 4406"/>
                <a:gd name="T3" fmla="*/ 1436 h 1436"/>
                <a:gd name="T4" fmla="*/ 4110 w 4406"/>
                <a:gd name="T5" fmla="*/ 405 h 1436"/>
                <a:gd name="T6" fmla="*/ 4406 w 4406"/>
                <a:gd name="T7" fmla="*/ 0 h 1436"/>
                <a:gd name="T8" fmla="*/ 0 w 4406"/>
                <a:gd name="T9" fmla="*/ 0 h 1436"/>
                <a:gd name="connsiteX0" fmla="*/ 0 w 10000"/>
                <a:gd name="connsiteY0" fmla="*/ 0 h 5109"/>
                <a:gd name="connsiteX1" fmla="*/ 6359 w 10000"/>
                <a:gd name="connsiteY1" fmla="*/ 5109 h 5109"/>
                <a:gd name="connsiteX2" fmla="*/ 9328 w 10000"/>
                <a:gd name="connsiteY2" fmla="*/ 2820 h 5109"/>
                <a:gd name="connsiteX3" fmla="*/ 10000 w 10000"/>
                <a:gd name="connsiteY3" fmla="*/ 0 h 5109"/>
                <a:gd name="connsiteX4" fmla="*/ 0 w 10000"/>
                <a:gd name="connsiteY4" fmla="*/ 0 h 5109"/>
                <a:gd name="connsiteX0" fmla="*/ 0 w 3709"/>
                <a:gd name="connsiteY0" fmla="*/ 306 h 10000"/>
                <a:gd name="connsiteX1" fmla="*/ 68 w 3709"/>
                <a:gd name="connsiteY1" fmla="*/ 10000 h 10000"/>
                <a:gd name="connsiteX2" fmla="*/ 3037 w 3709"/>
                <a:gd name="connsiteY2" fmla="*/ 5520 h 10000"/>
                <a:gd name="connsiteX3" fmla="*/ 3709 w 3709"/>
                <a:gd name="connsiteY3" fmla="*/ 0 h 10000"/>
                <a:gd name="connsiteX4" fmla="*/ 0 w 3709"/>
                <a:gd name="connsiteY4" fmla="*/ 306 h 10000"/>
                <a:gd name="connsiteX0" fmla="*/ 0 w 10000"/>
                <a:gd name="connsiteY0" fmla="*/ 306 h 9927"/>
                <a:gd name="connsiteX1" fmla="*/ 49 w 10000"/>
                <a:gd name="connsiteY1" fmla="*/ 9927 h 9927"/>
                <a:gd name="connsiteX2" fmla="*/ 8188 w 10000"/>
                <a:gd name="connsiteY2" fmla="*/ 5520 h 9927"/>
                <a:gd name="connsiteX3" fmla="*/ 10000 w 10000"/>
                <a:gd name="connsiteY3" fmla="*/ 0 h 9927"/>
                <a:gd name="connsiteX4" fmla="*/ 0 w 10000"/>
                <a:gd name="connsiteY4" fmla="*/ 306 h 9927"/>
                <a:gd name="connsiteX0" fmla="*/ 0 w 10000"/>
                <a:gd name="connsiteY0" fmla="*/ 308 h 10000"/>
                <a:gd name="connsiteX1" fmla="*/ 205 w 10000"/>
                <a:gd name="connsiteY1" fmla="*/ 10000 h 10000"/>
                <a:gd name="connsiteX2" fmla="*/ 8188 w 10000"/>
                <a:gd name="connsiteY2" fmla="*/ 5561 h 10000"/>
                <a:gd name="connsiteX3" fmla="*/ 10000 w 10000"/>
                <a:gd name="connsiteY3" fmla="*/ 0 h 10000"/>
                <a:gd name="connsiteX4" fmla="*/ 0 w 10000"/>
                <a:gd name="connsiteY4" fmla="*/ 308 h 10000"/>
                <a:gd name="connsiteX0" fmla="*/ 0 w 9864"/>
                <a:gd name="connsiteY0" fmla="*/ 40 h 10000"/>
                <a:gd name="connsiteX1" fmla="*/ 69 w 9864"/>
                <a:gd name="connsiteY1" fmla="*/ 10000 h 10000"/>
                <a:gd name="connsiteX2" fmla="*/ 8052 w 9864"/>
                <a:gd name="connsiteY2" fmla="*/ 5561 h 10000"/>
                <a:gd name="connsiteX3" fmla="*/ 9864 w 9864"/>
                <a:gd name="connsiteY3" fmla="*/ 0 h 10000"/>
                <a:gd name="connsiteX4" fmla="*/ 0 w 9864"/>
                <a:gd name="connsiteY4" fmla="*/ 40 h 10000"/>
                <a:gd name="connsiteX0" fmla="*/ 9 w 9950"/>
                <a:gd name="connsiteY0" fmla="*/ 40 h 10000"/>
                <a:gd name="connsiteX1" fmla="*/ 20 w 9950"/>
                <a:gd name="connsiteY1" fmla="*/ 10000 h 10000"/>
                <a:gd name="connsiteX2" fmla="*/ 8113 w 9950"/>
                <a:gd name="connsiteY2" fmla="*/ 5561 h 10000"/>
                <a:gd name="connsiteX3" fmla="*/ 9950 w 9950"/>
                <a:gd name="connsiteY3" fmla="*/ 0 h 10000"/>
                <a:gd name="connsiteX4" fmla="*/ 9 w 9950"/>
                <a:gd name="connsiteY4" fmla="*/ 40 h 10000"/>
                <a:gd name="connsiteX0" fmla="*/ 19 w 10010"/>
                <a:gd name="connsiteY0" fmla="*/ 40 h 10000"/>
                <a:gd name="connsiteX1" fmla="*/ 30 w 10010"/>
                <a:gd name="connsiteY1" fmla="*/ 10000 h 10000"/>
                <a:gd name="connsiteX2" fmla="*/ 8164 w 10010"/>
                <a:gd name="connsiteY2" fmla="*/ 5561 h 10000"/>
                <a:gd name="connsiteX3" fmla="*/ 10010 w 10010"/>
                <a:gd name="connsiteY3" fmla="*/ 0 h 10000"/>
                <a:gd name="connsiteX4" fmla="*/ 19 w 10010"/>
                <a:gd name="connsiteY4" fmla="*/ 40 h 10000"/>
                <a:gd name="connsiteX0" fmla="*/ 0 w 9991"/>
                <a:gd name="connsiteY0" fmla="*/ 40 h 10000"/>
                <a:gd name="connsiteX1" fmla="*/ 11 w 9991"/>
                <a:gd name="connsiteY1" fmla="*/ 10000 h 10000"/>
                <a:gd name="connsiteX2" fmla="*/ 8145 w 9991"/>
                <a:gd name="connsiteY2" fmla="*/ 5561 h 10000"/>
                <a:gd name="connsiteX3" fmla="*/ 9991 w 9991"/>
                <a:gd name="connsiteY3" fmla="*/ 0 h 10000"/>
                <a:gd name="connsiteX4" fmla="*/ 0 w 9991"/>
                <a:gd name="connsiteY4" fmla="*/ 40 h 10000"/>
                <a:gd name="connsiteX0" fmla="*/ 11 w 10011"/>
                <a:gd name="connsiteY0" fmla="*/ 40 h 10188"/>
                <a:gd name="connsiteX1" fmla="*/ 0 w 10011"/>
                <a:gd name="connsiteY1" fmla="*/ 10188 h 10188"/>
                <a:gd name="connsiteX2" fmla="*/ 8163 w 10011"/>
                <a:gd name="connsiteY2" fmla="*/ 5561 h 10188"/>
                <a:gd name="connsiteX3" fmla="*/ 10011 w 10011"/>
                <a:gd name="connsiteY3" fmla="*/ 0 h 10188"/>
                <a:gd name="connsiteX4" fmla="*/ 11 w 10011"/>
                <a:gd name="connsiteY4" fmla="*/ 40 h 101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11" h="10188">
                  <a:moveTo>
                    <a:pt x="11" y="40"/>
                  </a:moveTo>
                  <a:cubicBezTo>
                    <a:pt x="15" y="3295"/>
                    <a:pt x="2" y="6839"/>
                    <a:pt x="0" y="10188"/>
                  </a:cubicBezTo>
                  <a:lnTo>
                    <a:pt x="8163" y="5561"/>
                  </a:lnTo>
                  <a:lnTo>
                    <a:pt x="10011" y="0"/>
                  </a:lnTo>
                  <a:lnTo>
                    <a:pt x="11" y="40"/>
                  </a:lnTo>
                  <a:close/>
                </a:path>
              </a:pathLst>
            </a:custGeom>
            <a:solidFill>
              <a:srgbClr val="2C41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2542" tIns="56271" rIns="112542" bIns="56271" numCol="1" anchor="t" anchorCtr="0" compatLnSpc="1">
              <a:prstTxWarp prst="textNoShape">
                <a:avLst/>
              </a:prstTxWarp>
            </a:bodyPr>
            <a:lstStyle/>
            <a:p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23" name="Freeform 6"/>
            <p:cNvSpPr>
              <a:spLocks/>
            </p:cNvSpPr>
            <p:nvPr userDrawn="1"/>
          </p:nvSpPr>
          <p:spPr bwMode="auto">
            <a:xfrm>
              <a:off x="-34838" y="-38715"/>
              <a:ext cx="9011158" cy="801026"/>
            </a:xfrm>
            <a:custGeom>
              <a:avLst/>
              <a:gdLst>
                <a:gd name="T0" fmla="*/ 0 w 5214"/>
                <a:gd name="T1" fmla="*/ 0 h 2191"/>
                <a:gd name="T2" fmla="*/ 0 w 5214"/>
                <a:gd name="T3" fmla="*/ 2191 h 2191"/>
                <a:gd name="T4" fmla="*/ 5214 w 5214"/>
                <a:gd name="T5" fmla="*/ 0 h 2191"/>
                <a:gd name="T6" fmla="*/ 0 w 5214"/>
                <a:gd name="T7" fmla="*/ 0 h 2191"/>
                <a:gd name="connsiteX0" fmla="*/ 0 w 10000"/>
                <a:gd name="connsiteY0" fmla="*/ 0 h 4612"/>
                <a:gd name="connsiteX1" fmla="*/ 5345 w 10000"/>
                <a:gd name="connsiteY1" fmla="*/ 4612 h 4612"/>
                <a:gd name="connsiteX2" fmla="*/ 10000 w 10000"/>
                <a:gd name="connsiteY2" fmla="*/ 0 h 4612"/>
                <a:gd name="connsiteX3" fmla="*/ 0 w 10000"/>
                <a:gd name="connsiteY3" fmla="*/ 0 h 4612"/>
                <a:gd name="connsiteX0" fmla="*/ 0 w 4684"/>
                <a:gd name="connsiteY0" fmla="*/ 74 h 10000"/>
                <a:gd name="connsiteX1" fmla="*/ 29 w 4684"/>
                <a:gd name="connsiteY1" fmla="*/ 10000 h 10000"/>
                <a:gd name="connsiteX2" fmla="*/ 4684 w 4684"/>
                <a:gd name="connsiteY2" fmla="*/ 0 h 10000"/>
                <a:gd name="connsiteX3" fmla="*/ 0 w 4684"/>
                <a:gd name="connsiteY3" fmla="*/ 74 h 10000"/>
                <a:gd name="connsiteX0" fmla="*/ 0 w 10000"/>
                <a:gd name="connsiteY0" fmla="*/ 74 h 9961"/>
                <a:gd name="connsiteX1" fmla="*/ 140 w 10000"/>
                <a:gd name="connsiteY1" fmla="*/ 9961 h 9961"/>
                <a:gd name="connsiteX2" fmla="*/ 10000 w 10000"/>
                <a:gd name="connsiteY2" fmla="*/ 0 h 9961"/>
                <a:gd name="connsiteX3" fmla="*/ 0 w 10000"/>
                <a:gd name="connsiteY3" fmla="*/ 74 h 9961"/>
                <a:gd name="connsiteX0" fmla="*/ 9 w 9866"/>
                <a:gd name="connsiteY0" fmla="*/ 0 h 10081"/>
                <a:gd name="connsiteX1" fmla="*/ 6 w 9866"/>
                <a:gd name="connsiteY1" fmla="*/ 10081 h 10081"/>
                <a:gd name="connsiteX2" fmla="*/ 9866 w 9866"/>
                <a:gd name="connsiteY2" fmla="*/ 81 h 10081"/>
                <a:gd name="connsiteX3" fmla="*/ 9 w 9866"/>
                <a:gd name="connsiteY3" fmla="*/ 0 h 10081"/>
                <a:gd name="connsiteX0" fmla="*/ 9 w 10000"/>
                <a:gd name="connsiteY0" fmla="*/ 36 h 9920"/>
                <a:gd name="connsiteX1" fmla="*/ 6 w 10000"/>
                <a:gd name="connsiteY1" fmla="*/ 9920 h 9920"/>
                <a:gd name="connsiteX2" fmla="*/ 10000 w 10000"/>
                <a:gd name="connsiteY2" fmla="*/ 0 h 9920"/>
                <a:gd name="connsiteX3" fmla="*/ 9 w 10000"/>
                <a:gd name="connsiteY3" fmla="*/ 36 h 9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000" h="9920">
                  <a:moveTo>
                    <a:pt x="9" y="36"/>
                  </a:moveTo>
                  <a:cubicBezTo>
                    <a:pt x="30" y="3331"/>
                    <a:pt x="-15" y="6625"/>
                    <a:pt x="6" y="9920"/>
                  </a:cubicBezTo>
                  <a:lnTo>
                    <a:pt x="10000" y="0"/>
                  </a:lnTo>
                  <a:lnTo>
                    <a:pt x="9" y="3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112542" tIns="56271" rIns="112542" bIns="56271" numCol="1" anchor="t" anchorCtr="0" compatLnSpc="1">
              <a:prstTxWarp prst="textNoShape">
                <a:avLst/>
              </a:prstTxWarp>
            </a:bodyPr>
            <a:lstStyle/>
            <a:p>
              <a:endParaRPr lang="ru-RU" sz="1600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9"/>
            <p:cNvSpPr>
              <a:spLocks/>
            </p:cNvSpPr>
            <p:nvPr/>
          </p:nvSpPr>
          <p:spPr bwMode="auto">
            <a:xfrm>
              <a:off x="-49164" y="-47003"/>
              <a:ext cx="7696089" cy="846767"/>
            </a:xfrm>
            <a:custGeom>
              <a:avLst/>
              <a:gdLst>
                <a:gd name="T0" fmla="*/ 0 w 4051"/>
                <a:gd name="T1" fmla="*/ 0 h 1363"/>
                <a:gd name="T2" fmla="*/ 0 w 4051"/>
                <a:gd name="T3" fmla="*/ 1363 h 1363"/>
                <a:gd name="T4" fmla="*/ 4051 w 4051"/>
                <a:gd name="T5" fmla="*/ 0 h 1363"/>
                <a:gd name="T6" fmla="*/ 0 w 4051"/>
                <a:gd name="T7" fmla="*/ 0 h 1363"/>
                <a:gd name="connsiteX0" fmla="*/ 6861 w 10000"/>
                <a:gd name="connsiteY0" fmla="*/ 0 h 10164"/>
                <a:gd name="connsiteX1" fmla="*/ 0 w 10000"/>
                <a:gd name="connsiteY1" fmla="*/ 10164 h 10164"/>
                <a:gd name="connsiteX2" fmla="*/ 10000 w 10000"/>
                <a:gd name="connsiteY2" fmla="*/ 164 h 10164"/>
                <a:gd name="connsiteX3" fmla="*/ 6861 w 10000"/>
                <a:gd name="connsiteY3" fmla="*/ 0 h 10164"/>
                <a:gd name="connsiteX0" fmla="*/ 18 w 3157"/>
                <a:gd name="connsiteY0" fmla="*/ 0 h 3312"/>
                <a:gd name="connsiteX1" fmla="*/ 0 w 3157"/>
                <a:gd name="connsiteY1" fmla="*/ 3312 h 3312"/>
                <a:gd name="connsiteX2" fmla="*/ 3157 w 3157"/>
                <a:gd name="connsiteY2" fmla="*/ 164 h 3312"/>
                <a:gd name="connsiteX3" fmla="*/ 18 w 3157"/>
                <a:gd name="connsiteY3" fmla="*/ 0 h 3312"/>
                <a:gd name="connsiteX0" fmla="*/ 57 w 10409"/>
                <a:gd name="connsiteY0" fmla="*/ 167 h 10167"/>
                <a:gd name="connsiteX1" fmla="*/ 0 w 10409"/>
                <a:gd name="connsiteY1" fmla="*/ 10167 h 10167"/>
                <a:gd name="connsiteX2" fmla="*/ 10409 w 10409"/>
                <a:gd name="connsiteY2" fmla="*/ 0 h 10167"/>
                <a:gd name="connsiteX3" fmla="*/ 57 w 10409"/>
                <a:gd name="connsiteY3" fmla="*/ 167 h 10167"/>
                <a:gd name="connsiteX0" fmla="*/ 181 w 10409"/>
                <a:gd name="connsiteY0" fmla="*/ 9 h 10269"/>
                <a:gd name="connsiteX1" fmla="*/ 0 w 10409"/>
                <a:gd name="connsiteY1" fmla="*/ 10269 h 10269"/>
                <a:gd name="connsiteX2" fmla="*/ 10409 w 10409"/>
                <a:gd name="connsiteY2" fmla="*/ 102 h 10269"/>
                <a:gd name="connsiteX3" fmla="*/ 181 w 10409"/>
                <a:gd name="connsiteY3" fmla="*/ 9 h 10269"/>
                <a:gd name="connsiteX0" fmla="*/ 3 w 10231"/>
                <a:gd name="connsiteY0" fmla="*/ 9 h 10269"/>
                <a:gd name="connsiteX1" fmla="*/ 46 w 10231"/>
                <a:gd name="connsiteY1" fmla="*/ 10269 h 10269"/>
                <a:gd name="connsiteX2" fmla="*/ 10231 w 10231"/>
                <a:gd name="connsiteY2" fmla="*/ 102 h 10269"/>
                <a:gd name="connsiteX3" fmla="*/ 3 w 10231"/>
                <a:gd name="connsiteY3" fmla="*/ 9 h 10269"/>
                <a:gd name="connsiteX0" fmla="*/ 0 w 10228"/>
                <a:gd name="connsiteY0" fmla="*/ 9 h 10269"/>
                <a:gd name="connsiteX1" fmla="*/ 43 w 10228"/>
                <a:gd name="connsiteY1" fmla="*/ 10269 h 10269"/>
                <a:gd name="connsiteX2" fmla="*/ 10228 w 10228"/>
                <a:gd name="connsiteY2" fmla="*/ 102 h 10269"/>
                <a:gd name="connsiteX3" fmla="*/ 0 w 10228"/>
                <a:gd name="connsiteY3" fmla="*/ 9 h 10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228" h="10269">
                  <a:moveTo>
                    <a:pt x="0" y="9"/>
                  </a:moveTo>
                  <a:cubicBezTo>
                    <a:pt x="56" y="10013"/>
                    <a:pt x="62" y="6936"/>
                    <a:pt x="43" y="10269"/>
                  </a:cubicBezTo>
                  <a:lnTo>
                    <a:pt x="10228" y="102"/>
                  </a:lnTo>
                  <a:cubicBezTo>
                    <a:pt x="6777" y="158"/>
                    <a:pt x="3451" y="-47"/>
                    <a:pt x="0" y="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112542" tIns="56271" rIns="112542" bIns="56271" numCol="1" anchor="t" anchorCtr="0" compatLnSpc="1">
              <a:prstTxWarp prst="textNoShape">
                <a:avLst/>
              </a:prstTxWarp>
            </a:bodyPr>
            <a:lstStyle/>
            <a:p>
              <a:endParaRPr lang="ru-RU" sz="1600">
                <a:solidFill>
                  <a:prstClr val="black"/>
                </a:solidFill>
              </a:endParaRPr>
            </a:p>
          </p:txBody>
        </p:sp>
        <p:sp>
          <p:nvSpPr>
            <p:cNvPr id="20" name="Freeform 6"/>
            <p:cNvSpPr>
              <a:spLocks/>
            </p:cNvSpPr>
            <p:nvPr/>
          </p:nvSpPr>
          <p:spPr bwMode="auto">
            <a:xfrm>
              <a:off x="-34838" y="-38715"/>
              <a:ext cx="8147061" cy="529742"/>
            </a:xfrm>
            <a:custGeom>
              <a:avLst/>
              <a:gdLst>
                <a:gd name="T0" fmla="*/ 0 w 5214"/>
                <a:gd name="T1" fmla="*/ 0 h 2191"/>
                <a:gd name="T2" fmla="*/ 0 w 5214"/>
                <a:gd name="T3" fmla="*/ 2191 h 2191"/>
                <a:gd name="T4" fmla="*/ 5214 w 5214"/>
                <a:gd name="T5" fmla="*/ 0 h 2191"/>
                <a:gd name="T6" fmla="*/ 0 w 5214"/>
                <a:gd name="T7" fmla="*/ 0 h 2191"/>
                <a:gd name="connsiteX0" fmla="*/ 0 w 10000"/>
                <a:gd name="connsiteY0" fmla="*/ 0 h 4612"/>
                <a:gd name="connsiteX1" fmla="*/ 5345 w 10000"/>
                <a:gd name="connsiteY1" fmla="*/ 4612 h 4612"/>
                <a:gd name="connsiteX2" fmla="*/ 10000 w 10000"/>
                <a:gd name="connsiteY2" fmla="*/ 0 h 4612"/>
                <a:gd name="connsiteX3" fmla="*/ 0 w 10000"/>
                <a:gd name="connsiteY3" fmla="*/ 0 h 4612"/>
                <a:gd name="connsiteX0" fmla="*/ 0 w 4684"/>
                <a:gd name="connsiteY0" fmla="*/ 74 h 10000"/>
                <a:gd name="connsiteX1" fmla="*/ 29 w 4684"/>
                <a:gd name="connsiteY1" fmla="*/ 10000 h 10000"/>
                <a:gd name="connsiteX2" fmla="*/ 4684 w 4684"/>
                <a:gd name="connsiteY2" fmla="*/ 0 h 10000"/>
                <a:gd name="connsiteX3" fmla="*/ 0 w 4684"/>
                <a:gd name="connsiteY3" fmla="*/ 74 h 10000"/>
                <a:gd name="connsiteX0" fmla="*/ 0 w 10000"/>
                <a:gd name="connsiteY0" fmla="*/ 74 h 9961"/>
                <a:gd name="connsiteX1" fmla="*/ 140 w 10000"/>
                <a:gd name="connsiteY1" fmla="*/ 9961 h 9961"/>
                <a:gd name="connsiteX2" fmla="*/ 10000 w 10000"/>
                <a:gd name="connsiteY2" fmla="*/ 0 h 9961"/>
                <a:gd name="connsiteX3" fmla="*/ 0 w 10000"/>
                <a:gd name="connsiteY3" fmla="*/ 74 h 9961"/>
                <a:gd name="connsiteX0" fmla="*/ 9 w 9866"/>
                <a:gd name="connsiteY0" fmla="*/ 0 h 10081"/>
                <a:gd name="connsiteX1" fmla="*/ 6 w 9866"/>
                <a:gd name="connsiteY1" fmla="*/ 10081 h 10081"/>
                <a:gd name="connsiteX2" fmla="*/ 9866 w 9866"/>
                <a:gd name="connsiteY2" fmla="*/ 81 h 10081"/>
                <a:gd name="connsiteX3" fmla="*/ 9 w 9866"/>
                <a:gd name="connsiteY3" fmla="*/ 0 h 10081"/>
                <a:gd name="connsiteX0" fmla="*/ 9 w 10000"/>
                <a:gd name="connsiteY0" fmla="*/ 36 h 9920"/>
                <a:gd name="connsiteX1" fmla="*/ 6 w 10000"/>
                <a:gd name="connsiteY1" fmla="*/ 9920 h 9920"/>
                <a:gd name="connsiteX2" fmla="*/ 10000 w 10000"/>
                <a:gd name="connsiteY2" fmla="*/ 0 h 9920"/>
                <a:gd name="connsiteX3" fmla="*/ 9 w 10000"/>
                <a:gd name="connsiteY3" fmla="*/ 36 h 9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000" h="9920">
                  <a:moveTo>
                    <a:pt x="9" y="36"/>
                  </a:moveTo>
                  <a:cubicBezTo>
                    <a:pt x="30" y="3331"/>
                    <a:pt x="-15" y="6625"/>
                    <a:pt x="6" y="9920"/>
                  </a:cubicBezTo>
                  <a:lnTo>
                    <a:pt x="10000" y="0"/>
                  </a:lnTo>
                  <a:lnTo>
                    <a:pt x="9" y="36"/>
                  </a:lnTo>
                  <a:close/>
                </a:path>
              </a:pathLst>
            </a:custGeom>
            <a:solidFill>
              <a:srgbClr val="B128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2542" tIns="56271" rIns="112542" bIns="56271" numCol="1" anchor="t" anchorCtr="0" compatLnSpc="1">
              <a:prstTxWarp prst="textNoShape">
                <a:avLst/>
              </a:prstTxWarp>
            </a:bodyPr>
            <a:lstStyle/>
            <a:p>
              <a:endParaRPr lang="ru-RU" sz="1600" dirty="0">
                <a:solidFill>
                  <a:prstClr val="black"/>
                </a:solidFill>
              </a:endParaRPr>
            </a:p>
          </p:txBody>
        </p:sp>
      </p:grpSp>
      <p:sp>
        <p:nvSpPr>
          <p:cNvPr id="46" name="Banderole Bottom"/>
          <p:cNvSpPr>
            <a:spLocks/>
          </p:cNvSpPr>
          <p:nvPr>
            <p:custDataLst>
              <p:tags r:id="rId1"/>
            </p:custDataLst>
          </p:nvPr>
        </p:nvSpPr>
        <p:spPr>
          <a:xfrm>
            <a:off x="0" y="6602400"/>
            <a:ext cx="12192000" cy="2556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600" b="0" dirty="0" smtClean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87" name="Text Placeholder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902677" y="1996700"/>
            <a:ext cx="10505831" cy="1762021"/>
          </a:xfrm>
        </p:spPr>
        <p:txBody>
          <a:bodyPr>
            <a:spAutoFit/>
          </a:bodyPr>
          <a:lstStyle>
            <a:lvl1pPr>
              <a:defRPr/>
            </a:lvl1pPr>
            <a:lvl2pPr>
              <a:defRPr/>
            </a:lvl2pPr>
            <a:lvl3pPr>
              <a:spcBef>
                <a:spcPts val="492"/>
              </a:spcBef>
              <a:defRPr/>
            </a:lvl3pPr>
            <a:lvl4pPr>
              <a:defRPr/>
            </a:lvl4pPr>
          </a:lstStyle>
          <a:p>
            <a:pPr lvl="0"/>
            <a:r>
              <a:rPr lang="en-US" dirty="0" smtClean="0"/>
              <a:t>Click to edit Master text styles – Level 0</a:t>
            </a:r>
          </a:p>
          <a:p>
            <a:pPr lvl="1"/>
            <a:r>
              <a:rPr lang="en-US" dirty="0" smtClean="0"/>
              <a:t>Level 1</a:t>
            </a:r>
          </a:p>
          <a:p>
            <a:pPr lvl="2"/>
            <a:r>
              <a:rPr lang="en-US" dirty="0" smtClean="0"/>
              <a:t>Level 2</a:t>
            </a:r>
          </a:p>
          <a:p>
            <a:pPr lvl="3"/>
            <a:r>
              <a:rPr lang="en-US" dirty="0" smtClean="0"/>
              <a:t>Level 3</a:t>
            </a:r>
          </a:p>
        </p:txBody>
      </p:sp>
      <p:sp>
        <p:nvSpPr>
          <p:cNvPr id="43" name="Title 4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3" name="Slide Number"/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11416792" y="117967"/>
            <a:ext cx="5307862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900" b="0" smtClean="0"/>
            </a:lvl1pPr>
          </a:lstStyle>
          <a:p>
            <a:pPr defTabSz="1125444">
              <a:defRPr/>
            </a:pPr>
            <a:fld id="{7AA7B471-74A3-4F5F-8955-6C99E2375CAC}" type="slidenum">
              <a:rPr lang="en-US" sz="1800">
                <a:solidFill>
                  <a:prstClr val="white"/>
                </a:solidFill>
                <a:latin typeface="Arial Narrow"/>
                <a:cs typeface="Arial" pitchFamily="34" charset="0"/>
              </a:rPr>
              <a:pPr defTabSz="1125444">
                <a:defRPr/>
              </a:pPr>
              <a:t>‹#›</a:t>
            </a:fld>
            <a:endParaRPr lang="en-US" sz="1800" dirty="0">
              <a:solidFill>
                <a:prstClr val="white"/>
              </a:solidFill>
              <a:latin typeface="Arial Narrow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3411904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4.xml"/><Relationship Id="rId18" Type="http://schemas.openxmlformats.org/officeDocument/2006/relationships/tags" Target="../tags/tag9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3.xml"/><Relationship Id="rId17" Type="http://schemas.openxmlformats.org/officeDocument/2006/relationships/tags" Target="../tags/tag8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7.xml"/><Relationship Id="rId20" Type="http://schemas.openxmlformats.org/officeDocument/2006/relationships/tags" Target="../tags/tag1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6.xml"/><Relationship Id="rId10" Type="http://schemas.openxmlformats.org/officeDocument/2006/relationships/vmlDrawing" Target="../drawings/vmlDrawing1.vml"/><Relationship Id="rId19" Type="http://schemas.openxmlformats.org/officeDocument/2006/relationships/tags" Target="../tags/tag10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tags" Target="../tags/tag5.xml"/><Relationship Id="rId22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13" Type="http://schemas.openxmlformats.org/officeDocument/2006/relationships/tags" Target="../tags/tag44.xml"/><Relationship Id="rId18" Type="http://schemas.openxmlformats.org/officeDocument/2006/relationships/tags" Target="../tags/tag49.xml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12" Type="http://schemas.openxmlformats.org/officeDocument/2006/relationships/tags" Target="../tags/tag43.xml"/><Relationship Id="rId17" Type="http://schemas.openxmlformats.org/officeDocument/2006/relationships/tags" Target="../tags/tag48.xml"/><Relationship Id="rId2" Type="http://schemas.openxmlformats.org/officeDocument/2006/relationships/slideLayout" Target="../slideLayouts/slideLayout10.xml"/><Relationship Id="rId16" Type="http://schemas.openxmlformats.org/officeDocument/2006/relationships/tags" Target="../tags/tag47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tags" Target="../tags/tag42.xml"/><Relationship Id="rId5" Type="http://schemas.openxmlformats.org/officeDocument/2006/relationships/slideLayout" Target="../slideLayouts/slideLayout13.xml"/><Relationship Id="rId15" Type="http://schemas.openxmlformats.org/officeDocument/2006/relationships/tags" Target="../tags/tag46.xml"/><Relationship Id="rId10" Type="http://schemas.openxmlformats.org/officeDocument/2006/relationships/tags" Target="../tags/tag41.xml"/><Relationship Id="rId4" Type="http://schemas.openxmlformats.org/officeDocument/2006/relationships/slideLayout" Target="../slideLayouts/slideLayout12.xml"/><Relationship Id="rId9" Type="http://schemas.openxmlformats.org/officeDocument/2006/relationships/theme" Target="../theme/theme2.xml"/><Relationship Id="rId14" Type="http://schemas.openxmlformats.org/officeDocument/2006/relationships/tags" Target="../tags/tag4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5364909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3" name="think-cell Slide" r:id="rId21" imgW="581" imgH="586" progId="TCLayout.ActiveDocument.1">
                  <p:embed/>
                </p:oleObj>
              </mc:Choice>
              <mc:Fallback>
                <p:oleObj name="think-cell Slide" r:id="rId21" imgW="581" imgH="5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!!!Do not delete this text object!!!!_2"/>
          <p:cNvSpPr/>
          <p:nvPr/>
        </p:nvSpPr>
        <p:spPr>
          <a:xfrm>
            <a:off x="-54529" y="-83405"/>
            <a:ext cx="39877" cy="32400"/>
          </a:xfrm>
          <a:prstGeom prst="ellipse">
            <a:avLst/>
          </a:prstGeom>
          <a:solidFill>
            <a:srgbClr val="FF0000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615" tIns="0" rIns="88615" bIns="0" rtlCol="0" anchor="ctr"/>
          <a:lstStyle/>
          <a:p>
            <a:pPr algn="ctr">
              <a:lnSpc>
                <a:spcPct val="93000"/>
              </a:lnSpc>
              <a:spcBef>
                <a:spcPts val="369"/>
              </a:spcBef>
            </a:pPr>
            <a:r>
              <a:rPr lang="de-DE" sz="246" b="1" dirty="0">
                <a:solidFill>
                  <a:schemeClr val="bg1"/>
                </a:solidFill>
                <a:cs typeface="Arial" pitchFamily="34" charset="0"/>
              </a:rPr>
              <a:t>2</a:t>
            </a:r>
          </a:p>
        </p:txBody>
      </p:sp>
      <p:sp>
        <p:nvSpPr>
          <p:cNvPr id="12" name="!!!Do not delete this text object!!!!"/>
          <p:cNvSpPr txBox="1"/>
          <p:nvPr>
            <p:custDataLst>
              <p:tags r:id="rId12"/>
            </p:custDataLst>
          </p:nvPr>
        </p:nvSpPr>
        <p:spPr>
          <a:xfrm>
            <a:off x="0" y="-90288"/>
            <a:ext cx="1215076" cy="56810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l">
              <a:buClr>
                <a:schemeClr val="tx1"/>
              </a:buClr>
              <a:buSzPct val="100000"/>
            </a:pPr>
            <a:r>
              <a:rPr lang="en-GB" sz="369" b="0" noProof="1">
                <a:solidFill>
                  <a:schemeClr val="bg1"/>
                </a:solidFill>
                <a:latin typeface="+mn-lt"/>
                <a:cs typeface="Arial" pitchFamily="34" charset="0"/>
              </a:rPr>
              <a:t>"A4rb_Premium" – 2012-02_v02 – do not delete this text object!</a:t>
            </a:r>
            <a:r>
              <a:rPr lang="en-GB" sz="369" b="0" baseline="0" noProof="1">
                <a:solidFill>
                  <a:schemeClr val="bg1"/>
                </a:solidFill>
                <a:latin typeface="+mn-lt"/>
                <a:cs typeface="Arial" pitchFamily="34" charset="0"/>
              </a:rPr>
              <a:t> </a:t>
            </a:r>
            <a:r>
              <a:rPr lang="en-GB" sz="369" b="0" noProof="1">
                <a:solidFill>
                  <a:schemeClr val="bg1"/>
                </a:solidFill>
                <a:latin typeface="+mn-lt"/>
                <a:cs typeface="Arial" pitchFamily="34" charset="0"/>
              </a:rPr>
              <a:t>Speech</a:t>
            </a:r>
          </a:p>
        </p:txBody>
      </p:sp>
      <p:sp>
        <p:nvSpPr>
          <p:cNvPr id="3" name="Text Placeholder"/>
          <p:cNvSpPr>
            <a:spLocks noGrp="1"/>
          </p:cNvSpPr>
          <p:nvPr>
            <p:ph type="body" idx="1"/>
            <p:custDataLst>
              <p:tags r:id="rId13"/>
            </p:custDataLst>
          </p:nvPr>
        </p:nvSpPr>
        <p:spPr>
          <a:xfrm>
            <a:off x="902677" y="1996700"/>
            <a:ext cx="10505831" cy="176202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dirty="0"/>
              <a:t>Click to edit Master text styles – Level 0</a:t>
            </a:r>
          </a:p>
          <a:p>
            <a:pPr lvl="1"/>
            <a:r>
              <a:rPr lang="en-US" dirty="0"/>
              <a:t>Level 1</a:t>
            </a:r>
          </a:p>
          <a:p>
            <a:pPr lvl="2"/>
            <a:r>
              <a:rPr lang="en-US" dirty="0"/>
              <a:t>Level 2</a:t>
            </a:r>
          </a:p>
          <a:p>
            <a:pPr lvl="3"/>
            <a:r>
              <a:rPr lang="en-US" dirty="0"/>
              <a:t>Level 3</a:t>
            </a:r>
          </a:p>
        </p:txBody>
      </p:sp>
      <p:sp>
        <p:nvSpPr>
          <p:cNvPr id="2" name="Title Placeholder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902677" y="857475"/>
            <a:ext cx="10505831" cy="77277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4" name="Drawing grid" hidden="1"/>
          <p:cNvGrpSpPr/>
          <p:nvPr>
            <p:custDataLst>
              <p:tags r:id="rId15"/>
            </p:custDataLst>
          </p:nvPr>
        </p:nvGrpSpPr>
        <p:grpSpPr>
          <a:xfrm>
            <a:off x="0" y="0"/>
            <a:ext cx="12192000" cy="6858000"/>
            <a:chOff x="0" y="0"/>
            <a:chExt cx="9906000" cy="6858000"/>
          </a:xfrm>
        </p:grpSpPr>
        <p:cxnSp>
          <p:nvCxnSpPr>
            <p:cNvPr id="27" name="!!!Do not delete!!!"/>
            <p:cNvCxnSpPr/>
            <p:nvPr/>
          </p:nvCxnSpPr>
          <p:spPr>
            <a:xfrm>
              <a:off x="738000" y="0"/>
              <a:ext cx="0" cy="6858000"/>
            </a:xfrm>
            <a:prstGeom prst="line">
              <a:avLst/>
            </a:prstGeom>
            <a:ln w="3175" cap="sq">
              <a:solidFill>
                <a:srgbClr val="C00000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!!!Do not delete!!!"/>
            <p:cNvCxnSpPr/>
            <p:nvPr/>
          </p:nvCxnSpPr>
          <p:spPr>
            <a:xfrm>
              <a:off x="1347787" y="0"/>
              <a:ext cx="0" cy="749300"/>
            </a:xfrm>
            <a:prstGeom prst="line">
              <a:avLst/>
            </a:prstGeom>
            <a:ln w="3175" cap="sq">
              <a:solidFill>
                <a:srgbClr val="C00000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!!!Do not delete!!!"/>
            <p:cNvCxnSpPr/>
            <p:nvPr/>
          </p:nvCxnSpPr>
          <p:spPr>
            <a:xfrm>
              <a:off x="7740969" y="0"/>
              <a:ext cx="0" cy="749300"/>
            </a:xfrm>
            <a:prstGeom prst="line">
              <a:avLst/>
            </a:prstGeom>
            <a:ln w="3175" cap="sq">
              <a:solidFill>
                <a:srgbClr val="C00000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!!!Do not delete!!!"/>
            <p:cNvCxnSpPr/>
            <p:nvPr/>
          </p:nvCxnSpPr>
          <p:spPr>
            <a:xfrm>
              <a:off x="8128319" y="0"/>
              <a:ext cx="0" cy="749300"/>
            </a:xfrm>
            <a:prstGeom prst="line">
              <a:avLst/>
            </a:prstGeom>
            <a:ln w="3175" cap="sq">
              <a:solidFill>
                <a:srgbClr val="C00000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!!!Do not delete!!!"/>
            <p:cNvCxnSpPr/>
            <p:nvPr/>
          </p:nvCxnSpPr>
          <p:spPr>
            <a:xfrm>
              <a:off x="9271000" y="0"/>
              <a:ext cx="0" cy="6858000"/>
            </a:xfrm>
            <a:prstGeom prst="line">
              <a:avLst/>
            </a:prstGeom>
            <a:ln w="3175" cap="sq">
              <a:solidFill>
                <a:srgbClr val="C00000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!!!Do not delete!!!"/>
            <p:cNvCxnSpPr/>
            <p:nvPr/>
          </p:nvCxnSpPr>
          <p:spPr>
            <a:xfrm>
              <a:off x="0" y="221454"/>
              <a:ext cx="9906000" cy="0"/>
            </a:xfrm>
            <a:prstGeom prst="line">
              <a:avLst/>
            </a:prstGeom>
            <a:ln w="3175" cap="sq">
              <a:solidFill>
                <a:srgbClr val="C00000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!!!Do not delete!!!"/>
            <p:cNvCxnSpPr/>
            <p:nvPr/>
          </p:nvCxnSpPr>
          <p:spPr>
            <a:xfrm>
              <a:off x="0" y="496092"/>
              <a:ext cx="9906000" cy="0"/>
            </a:xfrm>
            <a:prstGeom prst="line">
              <a:avLst/>
            </a:prstGeom>
            <a:ln w="3175" cap="sq">
              <a:solidFill>
                <a:srgbClr val="C00000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!!!Do not delete!!!"/>
            <p:cNvCxnSpPr/>
            <p:nvPr/>
          </p:nvCxnSpPr>
          <p:spPr>
            <a:xfrm>
              <a:off x="0" y="856800"/>
              <a:ext cx="9906000" cy="0"/>
            </a:xfrm>
            <a:prstGeom prst="line">
              <a:avLst/>
            </a:prstGeom>
            <a:ln w="3175" cap="sq">
              <a:solidFill>
                <a:srgbClr val="C00000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!!!Do not delete!!!"/>
            <p:cNvCxnSpPr/>
            <p:nvPr/>
          </p:nvCxnSpPr>
          <p:spPr>
            <a:xfrm>
              <a:off x="0" y="741599"/>
              <a:ext cx="144000" cy="0"/>
            </a:xfrm>
            <a:prstGeom prst="line">
              <a:avLst/>
            </a:prstGeom>
            <a:ln w="3175" cap="sq">
              <a:solidFill>
                <a:srgbClr val="C00000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!!!Do not delete!!!"/>
            <p:cNvCxnSpPr/>
            <p:nvPr/>
          </p:nvCxnSpPr>
          <p:spPr>
            <a:xfrm>
              <a:off x="0" y="6416675"/>
              <a:ext cx="9906000" cy="0"/>
            </a:xfrm>
            <a:prstGeom prst="line">
              <a:avLst/>
            </a:prstGeom>
            <a:ln w="3175" cap="sq">
              <a:solidFill>
                <a:srgbClr val="C00000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!!!Do not delete!!!"/>
            <p:cNvCxnSpPr/>
            <p:nvPr/>
          </p:nvCxnSpPr>
          <p:spPr>
            <a:xfrm>
              <a:off x="0" y="6708775"/>
              <a:ext cx="9906000" cy="0"/>
            </a:xfrm>
            <a:prstGeom prst="line">
              <a:avLst/>
            </a:prstGeom>
            <a:ln w="3175" cap="sq">
              <a:solidFill>
                <a:srgbClr val="C00000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!!!Do not delete!!!"/>
            <p:cNvCxnSpPr/>
            <p:nvPr/>
          </p:nvCxnSpPr>
          <p:spPr>
            <a:xfrm>
              <a:off x="0" y="1995488"/>
              <a:ext cx="9271000" cy="0"/>
            </a:xfrm>
            <a:prstGeom prst="line">
              <a:avLst/>
            </a:prstGeom>
            <a:ln w="3175" cap="sq">
              <a:solidFill>
                <a:srgbClr val="C00000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!!!Do not delete!!!"/>
            <p:cNvCxnSpPr/>
            <p:nvPr/>
          </p:nvCxnSpPr>
          <p:spPr>
            <a:xfrm>
              <a:off x="0" y="3032125"/>
              <a:ext cx="736600" cy="0"/>
            </a:xfrm>
            <a:prstGeom prst="line">
              <a:avLst/>
            </a:prstGeom>
            <a:ln w="3175" cap="sq">
              <a:solidFill>
                <a:srgbClr val="C00000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!!!Do not delete!!!"/>
            <p:cNvCxnSpPr/>
            <p:nvPr/>
          </p:nvCxnSpPr>
          <p:spPr>
            <a:xfrm>
              <a:off x="0" y="1763999"/>
              <a:ext cx="144000" cy="0"/>
            </a:xfrm>
            <a:prstGeom prst="line">
              <a:avLst/>
            </a:prstGeom>
            <a:ln w="3175" cap="sq">
              <a:solidFill>
                <a:srgbClr val="C00000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5" name="Formatted_text" hidden="1"/>
          <p:cNvSpPr txBox="1">
            <a:spLocks/>
          </p:cNvSpPr>
          <p:nvPr>
            <p:custDataLst>
              <p:tags r:id="rId16"/>
            </p:custDataLst>
          </p:nvPr>
        </p:nvSpPr>
        <p:spPr>
          <a:xfrm>
            <a:off x="908540" y="2621661"/>
            <a:ext cx="2436923" cy="1274708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93000"/>
              </a:lnSpc>
              <a:buClr>
                <a:schemeClr val="tx1"/>
              </a:buClr>
              <a:buSzPct val="100000"/>
            </a:pPr>
            <a:r>
              <a:rPr lang="de-DE" sz="1846" b="1" dirty="0">
                <a:latin typeface="+mn-lt"/>
                <a:cs typeface="Arial" pitchFamily="34" charset="0"/>
              </a:rPr>
              <a:t>15 Point Text: Level 0</a:t>
            </a:r>
            <a:endParaRPr lang="de-DE" sz="1846" b="0" dirty="0">
              <a:latin typeface="+mn-lt"/>
              <a:cs typeface="Arial" pitchFamily="34" charset="0"/>
            </a:endParaRPr>
          </a:p>
          <a:p>
            <a:pPr marL="202554" lvl="1" indent="-202554">
              <a:lnSpc>
                <a:spcPct val="93000"/>
              </a:lnSpc>
              <a:spcBef>
                <a:spcPts val="985"/>
              </a:spcBef>
              <a:buClr>
                <a:schemeClr val="tx1"/>
              </a:buClr>
              <a:buSzPct val="100000"/>
              <a:buFont typeface="Arial Narrow"/>
              <a:buChar char="&gt;"/>
            </a:pPr>
            <a:r>
              <a:rPr lang="de-DE" sz="1846" b="0" dirty="0">
                <a:latin typeface="+mn-lt"/>
                <a:cs typeface="Arial" pitchFamily="34" charset="0"/>
              </a:rPr>
              <a:t>Level 1</a:t>
            </a:r>
          </a:p>
          <a:p>
            <a:pPr marL="424098" lvl="2" indent="-205718">
              <a:lnSpc>
                <a:spcPct val="93000"/>
              </a:lnSpc>
              <a:spcBef>
                <a:spcPts val="492"/>
              </a:spcBef>
              <a:buClr>
                <a:schemeClr val="tx1"/>
              </a:buClr>
              <a:buSzPct val="100000"/>
              <a:buFont typeface="Arial Narrow"/>
              <a:buChar char="–"/>
            </a:pPr>
            <a:r>
              <a:rPr lang="de-DE" sz="1846" b="0" dirty="0">
                <a:latin typeface="+mn-lt"/>
                <a:cs typeface="Arial" pitchFamily="34" charset="0"/>
              </a:rPr>
              <a:t>Level 2</a:t>
            </a:r>
          </a:p>
          <a:p>
            <a:pPr marL="613993" lvl="3" indent="-177235">
              <a:lnSpc>
                <a:spcPct val="93000"/>
              </a:lnSpc>
              <a:spcBef>
                <a:spcPts val="246"/>
              </a:spcBef>
              <a:buClr>
                <a:schemeClr val="tx1"/>
              </a:buClr>
              <a:buSzPct val="100000"/>
              <a:buFont typeface="Arial Narrow"/>
              <a:buChar char="-"/>
            </a:pPr>
            <a:r>
              <a:rPr lang="de-DE" sz="1846" b="0" dirty="0">
                <a:latin typeface="+mn-lt"/>
                <a:cs typeface="Arial" pitchFamily="34" charset="0"/>
              </a:rPr>
              <a:t>Level 3</a:t>
            </a:r>
          </a:p>
        </p:txBody>
      </p:sp>
      <p:sp>
        <p:nvSpPr>
          <p:cNvPr id="46" name="Source" hidden="1"/>
          <p:cNvSpPr txBox="1"/>
          <p:nvPr>
            <p:custDataLst>
              <p:tags r:id="rId17"/>
            </p:custDataLst>
          </p:nvPr>
        </p:nvSpPr>
        <p:spPr>
          <a:xfrm>
            <a:off x="908541" y="6680369"/>
            <a:ext cx="634789" cy="158570"/>
          </a:xfrm>
          <a:prstGeom prst="rect">
            <a:avLst/>
          </a:prstGeom>
          <a:noFill/>
          <a:ln w="9525">
            <a:noFill/>
          </a:ln>
        </p:spPr>
        <p:txBody>
          <a:bodyPr vert="horz" wrap="none" lIns="0" tIns="0" rIns="0" bIns="0" rtlCol="0" anchor="b" anchorCtr="0">
            <a:spAutoFit/>
          </a:bodyPr>
          <a:lstStyle/>
          <a:p>
            <a:pPr marL="457211" indent="-457211">
              <a:lnSpc>
                <a:spcPct val="93000"/>
              </a:lnSpc>
              <a:buClr>
                <a:schemeClr val="tx1"/>
              </a:buClr>
              <a:buSzPct val="100000"/>
            </a:pPr>
            <a:r>
              <a:rPr lang="de-DE" sz="1108" b="0" dirty="0">
                <a:latin typeface="+mn-lt"/>
                <a:cs typeface="Arial" pitchFamily="34" charset="0"/>
              </a:rPr>
              <a:t>Source:	</a:t>
            </a:r>
            <a:r>
              <a:rPr lang="de-DE" sz="1108" b="0" dirty="0" err="1">
                <a:latin typeface="+mn-lt"/>
                <a:cs typeface="Arial" pitchFamily="34" charset="0"/>
              </a:rPr>
              <a:t>xxx</a:t>
            </a:r>
            <a:endParaRPr lang="de-DE" sz="1108" b="0" dirty="0">
              <a:latin typeface="+mn-lt"/>
              <a:cs typeface="Arial" pitchFamily="34" charset="0"/>
            </a:endParaRPr>
          </a:p>
        </p:txBody>
      </p:sp>
      <p:sp>
        <p:nvSpPr>
          <p:cNvPr id="47" name="Notes" hidden="1"/>
          <p:cNvSpPr txBox="1"/>
          <p:nvPr>
            <p:custDataLst>
              <p:tags r:id="rId18"/>
            </p:custDataLst>
          </p:nvPr>
        </p:nvSpPr>
        <p:spPr>
          <a:xfrm>
            <a:off x="908541" y="6384452"/>
            <a:ext cx="393698" cy="176138"/>
          </a:xfrm>
          <a:prstGeom prst="rect">
            <a:avLst/>
          </a:prstGeom>
          <a:noFill/>
          <a:ln w="9525">
            <a:noFill/>
          </a:ln>
        </p:spPr>
        <p:txBody>
          <a:bodyPr vert="horz" wrap="none" lIns="0" tIns="0" rIns="0" bIns="0" rtlCol="0" anchor="b" anchorCtr="0">
            <a:spAutoFit/>
          </a:bodyPr>
          <a:lstStyle/>
          <a:p>
            <a:pPr marL="199297" indent="-199297">
              <a:lnSpc>
                <a:spcPct val="93000"/>
              </a:lnSpc>
              <a:buClr>
                <a:schemeClr val="tx1"/>
              </a:buClr>
              <a:buSzPct val="100000"/>
            </a:pPr>
            <a:r>
              <a:rPr lang="de-DE" sz="1231" b="0" dirty="0">
                <a:latin typeface="+mn-lt"/>
                <a:cs typeface="Arial" pitchFamily="34" charset="0"/>
              </a:rPr>
              <a:t>1)	</a:t>
            </a:r>
            <a:r>
              <a:rPr lang="de-DE" sz="1231" b="0" dirty="0" err="1">
                <a:latin typeface="+mn-lt"/>
                <a:cs typeface="Arial" pitchFamily="34" charset="0"/>
              </a:rPr>
              <a:t>xxx</a:t>
            </a:r>
            <a:endParaRPr lang="de-DE" sz="1231" b="0" dirty="0">
              <a:latin typeface="+mn-lt"/>
              <a:cs typeface="Arial" pitchFamily="34" charset="0"/>
            </a:endParaRPr>
          </a:p>
        </p:txBody>
      </p:sp>
      <p:grpSp>
        <p:nvGrpSpPr>
          <p:cNvPr id="5" name="Legend" hidden="1"/>
          <p:cNvGrpSpPr/>
          <p:nvPr>
            <p:custDataLst>
              <p:tags r:id="rId19"/>
            </p:custDataLst>
          </p:nvPr>
        </p:nvGrpSpPr>
        <p:grpSpPr>
          <a:xfrm>
            <a:off x="908541" y="6195220"/>
            <a:ext cx="800135" cy="179153"/>
            <a:chOff x="736600" y="6157119"/>
            <a:chExt cx="650109" cy="179153"/>
          </a:xfrm>
        </p:grpSpPr>
        <p:sp>
          <p:nvSpPr>
            <p:cNvPr id="49" name="LegendIcon"/>
            <p:cNvSpPr/>
            <p:nvPr/>
          </p:nvSpPr>
          <p:spPr>
            <a:xfrm>
              <a:off x="736600" y="6157119"/>
              <a:ext cx="215900" cy="146050"/>
            </a:xfrm>
            <a:prstGeom prst="rect">
              <a:avLst/>
            </a:prstGeom>
            <a:noFill/>
            <a:ln w="9525" cap="flat" cmpd="sng" algn="ctr">
              <a:solidFill>
                <a:srgbClr val="003F56"/>
              </a:solidFill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1125444" eaLnBrk="1" fontAlgn="auto" latinLnBrk="0" hangingPunct="1">
                <a:lnSpc>
                  <a:spcPct val="93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endParaRPr>
            </a:p>
          </p:txBody>
        </p:sp>
        <p:sp>
          <p:nvSpPr>
            <p:cNvPr id="50" name="LegendText"/>
            <p:cNvSpPr txBox="1"/>
            <p:nvPr/>
          </p:nvSpPr>
          <p:spPr>
            <a:xfrm>
              <a:off x="1035050" y="6160134"/>
              <a:ext cx="351659" cy="176138"/>
            </a:xfrm>
            <a:prstGeom prst="rect">
              <a:avLst/>
            </a:prstGeom>
            <a:noFill/>
            <a:ln w="9525">
              <a:noFill/>
            </a:ln>
          </p:spPr>
          <p:txBody>
            <a:bodyPr vert="horz" wrap="none" lIns="0" tIns="0" rIns="0" bIns="0" rtlCol="0" anchor="t" anchorCtr="0">
              <a:spAutoFit/>
            </a:bodyPr>
            <a:lstStyle/>
            <a:p>
              <a:pPr marL="0" marR="0" lvl="0" indent="0" defTabSz="1125444" eaLnBrk="1" fontAlgn="auto" latinLnBrk="0" hangingPunct="1">
                <a:lnSpc>
                  <a:spcPct val="93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de-DE" sz="1231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+mn-lt"/>
                  <a:cs typeface="Arial" pitchFamily="34" charset="0"/>
                </a:rPr>
                <a:t>Legend</a:t>
              </a:r>
            </a:p>
          </p:txBody>
        </p:sp>
      </p:grpSp>
      <p:sp>
        <p:nvSpPr>
          <p:cNvPr id="51" name="Subtitle" hidden="1"/>
          <p:cNvSpPr txBox="1">
            <a:spLocks/>
          </p:cNvSpPr>
          <p:nvPr>
            <p:custDataLst>
              <p:tags r:id="rId20"/>
            </p:custDataLst>
          </p:nvPr>
        </p:nvSpPr>
        <p:spPr>
          <a:xfrm>
            <a:off x="908541" y="2005020"/>
            <a:ext cx="10502421" cy="369973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93000"/>
              </a:lnSpc>
              <a:buClr>
                <a:schemeClr val="tx1"/>
              </a:buClr>
              <a:buSzPct val="100000"/>
            </a:pPr>
            <a:r>
              <a:rPr lang="de-DE" sz="2585" b="0" dirty="0" err="1">
                <a:latin typeface="+mn-lt"/>
                <a:cs typeface="Arial" pitchFamily="34" charset="0"/>
              </a:rPr>
              <a:t>Subtitle</a:t>
            </a:r>
            <a:endParaRPr lang="de-DE" sz="2585" b="0" dirty="0">
              <a:latin typeface="+mn-lt"/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320" r:id="rId1"/>
    <p:sldLayoutId id="2147484321" r:id="rId2"/>
    <p:sldLayoutId id="2147484322" r:id="rId3"/>
    <p:sldLayoutId id="2147484323" r:id="rId4"/>
    <p:sldLayoutId id="2147484324" r:id="rId5"/>
    <p:sldLayoutId id="2147484325" r:id="rId6"/>
    <p:sldLayoutId id="2147484326" r:id="rId7"/>
    <p:sldLayoutId id="2147484327" r:id="rId8"/>
  </p:sldLayoutIdLst>
  <p:hf hdr="0" dt="0"/>
  <p:txStyles>
    <p:titleStyle>
      <a:lvl1pPr algn="l" defTabSz="1125444" rtl="0" eaLnBrk="1" latinLnBrk="0" hangingPunct="1">
        <a:lnSpc>
          <a:spcPct val="93000"/>
        </a:lnSpc>
        <a:spcBef>
          <a:spcPct val="0"/>
        </a:spcBef>
        <a:buNone/>
        <a:defRPr lang="en-US" sz="3323" b="0" kern="1200" dirty="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0" indent="0" algn="l" defTabSz="1125444" rtl="0" eaLnBrk="1" latinLnBrk="0" hangingPunct="1">
        <a:lnSpc>
          <a:spcPct val="93000"/>
        </a:lnSpc>
        <a:spcBef>
          <a:spcPts val="0"/>
        </a:spcBef>
        <a:buFont typeface="Arial" pitchFamily="34" charset="0"/>
        <a:buNone/>
        <a:defRPr lang="en-US" sz="2585" b="1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283576" indent="-283576" algn="l" defTabSz="1125444" rtl="0" eaLnBrk="1" latinLnBrk="0" hangingPunct="1">
        <a:lnSpc>
          <a:spcPct val="93000"/>
        </a:lnSpc>
        <a:spcBef>
          <a:spcPts val="1477"/>
        </a:spcBef>
        <a:buFont typeface="Arial Narrow" pitchFamily="34" charset="0"/>
        <a:buChar char="&gt;"/>
        <a:defRPr lang="en-US" sz="2585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593738" indent="-288007" algn="l" defTabSz="1125444" rtl="0" eaLnBrk="1" latinLnBrk="0" hangingPunct="1">
        <a:lnSpc>
          <a:spcPct val="93000"/>
        </a:lnSpc>
        <a:spcBef>
          <a:spcPts val="492"/>
        </a:spcBef>
        <a:buFont typeface="Arial Narrow" pitchFamily="34" charset="0"/>
        <a:buChar char="–"/>
        <a:defRPr lang="en-US" sz="2585" b="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859591" indent="-248129" algn="l" defTabSz="1125444" rtl="0" eaLnBrk="1" latinLnBrk="0" hangingPunct="1">
        <a:lnSpc>
          <a:spcPct val="93000"/>
        </a:lnSpc>
        <a:spcBef>
          <a:spcPts val="246"/>
        </a:spcBef>
        <a:buFont typeface="Arial Narrow" pitchFamily="34" charset="0"/>
        <a:buChar char="-"/>
        <a:defRPr lang="en-US" sz="2585" b="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859591" indent="0" algn="l" defTabSz="1125444" rtl="0" eaLnBrk="1" latinLnBrk="0" hangingPunct="1">
        <a:lnSpc>
          <a:spcPct val="93000"/>
        </a:lnSpc>
        <a:spcBef>
          <a:spcPts val="0"/>
        </a:spcBef>
        <a:buFont typeface="Arial" pitchFamily="34" charset="0"/>
        <a:buNone/>
        <a:defRPr sz="2092" kern="1200">
          <a:solidFill>
            <a:schemeClr val="tx1"/>
          </a:solidFill>
          <a:latin typeface="Arial" pitchFamily="34" charset="0"/>
          <a:ea typeface="+mn-ea"/>
          <a:cs typeface="+mn-cs"/>
        </a:defRPr>
      </a:lvl5pPr>
      <a:lvl6pPr marL="3094970" indent="-281361" algn="l" defTabSz="1125444" rtl="0" eaLnBrk="1" latinLnBrk="0" hangingPunct="1">
        <a:spcBef>
          <a:spcPct val="20000"/>
        </a:spcBef>
        <a:buFont typeface="Arial" pitchFamily="34" charset="0"/>
        <a:buChar char="•"/>
        <a:defRPr sz="2462" kern="1200">
          <a:solidFill>
            <a:schemeClr val="tx1"/>
          </a:solidFill>
          <a:latin typeface="+mn-lt"/>
          <a:ea typeface="+mn-ea"/>
          <a:cs typeface="+mn-cs"/>
        </a:defRPr>
      </a:lvl6pPr>
      <a:lvl7pPr marL="3657691" indent="-281361" algn="l" defTabSz="1125444" rtl="0" eaLnBrk="1" latinLnBrk="0" hangingPunct="1">
        <a:spcBef>
          <a:spcPct val="20000"/>
        </a:spcBef>
        <a:buFont typeface="Arial" pitchFamily="34" charset="0"/>
        <a:buChar char="•"/>
        <a:defRPr sz="2462" kern="1200">
          <a:solidFill>
            <a:schemeClr val="tx1"/>
          </a:solidFill>
          <a:latin typeface="+mn-lt"/>
          <a:ea typeface="+mn-ea"/>
          <a:cs typeface="+mn-cs"/>
        </a:defRPr>
      </a:lvl7pPr>
      <a:lvl8pPr marL="4220413" indent="-281361" algn="l" defTabSz="1125444" rtl="0" eaLnBrk="1" latinLnBrk="0" hangingPunct="1">
        <a:spcBef>
          <a:spcPct val="20000"/>
        </a:spcBef>
        <a:buFont typeface="Arial" pitchFamily="34" charset="0"/>
        <a:buChar char="•"/>
        <a:defRPr sz="2462" kern="1200">
          <a:solidFill>
            <a:schemeClr val="tx1"/>
          </a:solidFill>
          <a:latin typeface="+mn-lt"/>
          <a:ea typeface="+mn-ea"/>
          <a:cs typeface="+mn-cs"/>
        </a:defRPr>
      </a:lvl8pPr>
      <a:lvl9pPr marL="4783135" indent="-281361" algn="l" defTabSz="1125444" rtl="0" eaLnBrk="1" latinLnBrk="0" hangingPunct="1">
        <a:spcBef>
          <a:spcPct val="20000"/>
        </a:spcBef>
        <a:buFont typeface="Arial" pitchFamily="34" charset="0"/>
        <a:buChar char="•"/>
        <a:defRPr sz="246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1pPr>
      <a:lvl2pPr marL="562722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2pPr>
      <a:lvl3pPr marL="1125444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3pPr>
      <a:lvl4pPr marL="1688165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4pPr>
      <a:lvl5pPr marL="2250887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5pPr>
      <a:lvl6pPr marL="2813609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6pPr>
      <a:lvl7pPr marL="3376331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7pPr>
      <a:lvl8pPr marL="3939052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8pPr>
      <a:lvl9pPr marL="4501774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!!!Do not delete this text object!!!!_2"/>
          <p:cNvSpPr/>
          <p:nvPr/>
        </p:nvSpPr>
        <p:spPr>
          <a:xfrm>
            <a:off x="-54529" y="-83405"/>
            <a:ext cx="39877" cy="32400"/>
          </a:xfrm>
          <a:prstGeom prst="ellipse">
            <a:avLst/>
          </a:prstGeom>
          <a:solidFill>
            <a:srgbClr val="FF0000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615" tIns="0" rIns="88615" bIns="0" rtlCol="0" anchor="ctr"/>
          <a:lstStyle/>
          <a:p>
            <a:pPr algn="ctr">
              <a:lnSpc>
                <a:spcPct val="93000"/>
              </a:lnSpc>
              <a:spcBef>
                <a:spcPts val="369"/>
              </a:spcBef>
            </a:pPr>
            <a:r>
              <a:rPr lang="de-DE" sz="246" dirty="0" smtClean="0">
                <a:solidFill>
                  <a:prstClr val="white"/>
                </a:solidFill>
                <a:cs typeface="Arial" pitchFamily="34" charset="0"/>
              </a:rPr>
              <a:t>2</a:t>
            </a:r>
          </a:p>
        </p:txBody>
      </p:sp>
      <p:sp>
        <p:nvSpPr>
          <p:cNvPr id="12" name="!!!Do not delete this text object!!!!"/>
          <p:cNvSpPr txBox="1"/>
          <p:nvPr>
            <p:custDataLst>
              <p:tags r:id="rId10"/>
            </p:custDataLst>
          </p:nvPr>
        </p:nvSpPr>
        <p:spPr>
          <a:xfrm>
            <a:off x="0" y="-90288"/>
            <a:ext cx="1215076" cy="56810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buClr>
                <a:prstClr val="black"/>
              </a:buClr>
              <a:buSzPct val="100000"/>
            </a:pPr>
            <a:r>
              <a:rPr lang="en-GB" sz="369" b="0" noProof="1" smtClean="0">
                <a:solidFill>
                  <a:prstClr val="white"/>
                </a:solidFill>
                <a:latin typeface="Arial Narrow"/>
                <a:cs typeface="Arial" pitchFamily="34" charset="0"/>
              </a:rPr>
              <a:t>"A4rb_Premium" – 2012-02_v02 – do not delete this text object! Speech</a:t>
            </a:r>
          </a:p>
        </p:txBody>
      </p:sp>
      <p:sp>
        <p:nvSpPr>
          <p:cNvPr id="3" name="Text Placeholder"/>
          <p:cNvSpPr>
            <a:spLocks noGrp="1"/>
          </p:cNvSpPr>
          <p:nvPr>
            <p:ph type="body" idx="1"/>
            <p:custDataLst>
              <p:tags r:id="rId11"/>
            </p:custDataLst>
          </p:nvPr>
        </p:nvSpPr>
        <p:spPr>
          <a:xfrm>
            <a:off x="902677" y="1996700"/>
            <a:ext cx="10505831" cy="176202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dirty="0" smtClean="0"/>
              <a:t>Click to edit Master text styles – Level 0</a:t>
            </a:r>
          </a:p>
          <a:p>
            <a:pPr lvl="1"/>
            <a:r>
              <a:rPr lang="en-US" dirty="0" smtClean="0"/>
              <a:t>Level 1</a:t>
            </a:r>
          </a:p>
          <a:p>
            <a:pPr lvl="2"/>
            <a:r>
              <a:rPr lang="en-US" dirty="0" smtClean="0"/>
              <a:t>Level 2</a:t>
            </a:r>
          </a:p>
          <a:p>
            <a:pPr lvl="3"/>
            <a:r>
              <a:rPr lang="en-US" dirty="0" smtClean="0"/>
              <a:t>Level 3</a:t>
            </a:r>
            <a:endParaRPr lang="en-US" dirty="0"/>
          </a:p>
        </p:txBody>
      </p:sp>
      <p:sp>
        <p:nvSpPr>
          <p:cNvPr id="2" name="Title Placeholder"/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902677" y="857475"/>
            <a:ext cx="10505831" cy="77277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grpSp>
        <p:nvGrpSpPr>
          <p:cNvPr id="4" name="Drawing grid" hidden="1"/>
          <p:cNvGrpSpPr/>
          <p:nvPr>
            <p:custDataLst>
              <p:tags r:id="rId13"/>
            </p:custDataLst>
          </p:nvPr>
        </p:nvGrpSpPr>
        <p:grpSpPr>
          <a:xfrm>
            <a:off x="0" y="0"/>
            <a:ext cx="12192000" cy="6858000"/>
            <a:chOff x="0" y="0"/>
            <a:chExt cx="9906000" cy="6858000"/>
          </a:xfrm>
        </p:grpSpPr>
        <p:cxnSp>
          <p:nvCxnSpPr>
            <p:cNvPr id="27" name="!!!Do not delete!!!"/>
            <p:cNvCxnSpPr/>
            <p:nvPr/>
          </p:nvCxnSpPr>
          <p:spPr>
            <a:xfrm>
              <a:off x="738000" y="0"/>
              <a:ext cx="0" cy="6858000"/>
            </a:xfrm>
            <a:prstGeom prst="line">
              <a:avLst/>
            </a:prstGeom>
            <a:ln w="3175" cap="sq">
              <a:solidFill>
                <a:srgbClr val="C00000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!!!Do not delete!!!"/>
            <p:cNvCxnSpPr/>
            <p:nvPr/>
          </p:nvCxnSpPr>
          <p:spPr>
            <a:xfrm>
              <a:off x="1347787" y="0"/>
              <a:ext cx="0" cy="749300"/>
            </a:xfrm>
            <a:prstGeom prst="line">
              <a:avLst/>
            </a:prstGeom>
            <a:ln w="3175" cap="sq">
              <a:solidFill>
                <a:srgbClr val="C00000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!!!Do not delete!!!"/>
            <p:cNvCxnSpPr/>
            <p:nvPr/>
          </p:nvCxnSpPr>
          <p:spPr>
            <a:xfrm>
              <a:off x="7740969" y="0"/>
              <a:ext cx="0" cy="749300"/>
            </a:xfrm>
            <a:prstGeom prst="line">
              <a:avLst/>
            </a:prstGeom>
            <a:ln w="3175" cap="sq">
              <a:solidFill>
                <a:srgbClr val="C00000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!!!Do not delete!!!"/>
            <p:cNvCxnSpPr/>
            <p:nvPr/>
          </p:nvCxnSpPr>
          <p:spPr>
            <a:xfrm>
              <a:off x="8128319" y="0"/>
              <a:ext cx="0" cy="749300"/>
            </a:xfrm>
            <a:prstGeom prst="line">
              <a:avLst/>
            </a:prstGeom>
            <a:ln w="3175" cap="sq">
              <a:solidFill>
                <a:srgbClr val="C00000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!!!Do not delete!!!"/>
            <p:cNvCxnSpPr/>
            <p:nvPr/>
          </p:nvCxnSpPr>
          <p:spPr>
            <a:xfrm>
              <a:off x="9271000" y="0"/>
              <a:ext cx="0" cy="6858000"/>
            </a:xfrm>
            <a:prstGeom prst="line">
              <a:avLst/>
            </a:prstGeom>
            <a:ln w="3175" cap="sq">
              <a:solidFill>
                <a:srgbClr val="C00000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!!!Do not delete!!!"/>
            <p:cNvCxnSpPr/>
            <p:nvPr/>
          </p:nvCxnSpPr>
          <p:spPr>
            <a:xfrm>
              <a:off x="0" y="221454"/>
              <a:ext cx="9906000" cy="0"/>
            </a:xfrm>
            <a:prstGeom prst="line">
              <a:avLst/>
            </a:prstGeom>
            <a:ln w="3175" cap="sq">
              <a:solidFill>
                <a:srgbClr val="C00000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!!!Do not delete!!!"/>
            <p:cNvCxnSpPr/>
            <p:nvPr/>
          </p:nvCxnSpPr>
          <p:spPr>
            <a:xfrm>
              <a:off x="0" y="496092"/>
              <a:ext cx="9906000" cy="0"/>
            </a:xfrm>
            <a:prstGeom prst="line">
              <a:avLst/>
            </a:prstGeom>
            <a:ln w="3175" cap="sq">
              <a:solidFill>
                <a:srgbClr val="C00000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!!!Do not delete!!!"/>
            <p:cNvCxnSpPr/>
            <p:nvPr/>
          </p:nvCxnSpPr>
          <p:spPr>
            <a:xfrm>
              <a:off x="0" y="856800"/>
              <a:ext cx="9906000" cy="0"/>
            </a:xfrm>
            <a:prstGeom prst="line">
              <a:avLst/>
            </a:prstGeom>
            <a:ln w="3175" cap="sq">
              <a:solidFill>
                <a:srgbClr val="C00000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!!!Do not delete!!!"/>
            <p:cNvCxnSpPr/>
            <p:nvPr/>
          </p:nvCxnSpPr>
          <p:spPr>
            <a:xfrm>
              <a:off x="0" y="741599"/>
              <a:ext cx="144000" cy="0"/>
            </a:xfrm>
            <a:prstGeom prst="line">
              <a:avLst/>
            </a:prstGeom>
            <a:ln w="3175" cap="sq">
              <a:solidFill>
                <a:srgbClr val="C00000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!!!Do not delete!!!"/>
            <p:cNvCxnSpPr/>
            <p:nvPr/>
          </p:nvCxnSpPr>
          <p:spPr>
            <a:xfrm>
              <a:off x="0" y="6416675"/>
              <a:ext cx="9906000" cy="0"/>
            </a:xfrm>
            <a:prstGeom prst="line">
              <a:avLst/>
            </a:prstGeom>
            <a:ln w="3175" cap="sq">
              <a:solidFill>
                <a:srgbClr val="C00000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!!!Do not delete!!!"/>
            <p:cNvCxnSpPr/>
            <p:nvPr/>
          </p:nvCxnSpPr>
          <p:spPr>
            <a:xfrm>
              <a:off x="0" y="6708775"/>
              <a:ext cx="9906000" cy="0"/>
            </a:xfrm>
            <a:prstGeom prst="line">
              <a:avLst/>
            </a:prstGeom>
            <a:ln w="3175" cap="sq">
              <a:solidFill>
                <a:srgbClr val="C00000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!!!Do not delete!!!"/>
            <p:cNvCxnSpPr/>
            <p:nvPr/>
          </p:nvCxnSpPr>
          <p:spPr>
            <a:xfrm>
              <a:off x="0" y="1995488"/>
              <a:ext cx="9271000" cy="0"/>
            </a:xfrm>
            <a:prstGeom prst="line">
              <a:avLst/>
            </a:prstGeom>
            <a:ln w="3175" cap="sq">
              <a:solidFill>
                <a:srgbClr val="C00000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!!!Do not delete!!!"/>
            <p:cNvCxnSpPr/>
            <p:nvPr/>
          </p:nvCxnSpPr>
          <p:spPr>
            <a:xfrm>
              <a:off x="0" y="3032125"/>
              <a:ext cx="736600" cy="0"/>
            </a:xfrm>
            <a:prstGeom prst="line">
              <a:avLst/>
            </a:prstGeom>
            <a:ln w="3175" cap="sq">
              <a:solidFill>
                <a:srgbClr val="C00000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!!!Do not delete!!!"/>
            <p:cNvCxnSpPr/>
            <p:nvPr/>
          </p:nvCxnSpPr>
          <p:spPr>
            <a:xfrm>
              <a:off x="0" y="1763999"/>
              <a:ext cx="144000" cy="0"/>
            </a:xfrm>
            <a:prstGeom prst="line">
              <a:avLst/>
            </a:prstGeom>
            <a:ln w="3175" cap="sq">
              <a:solidFill>
                <a:srgbClr val="C00000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5" name="Formatted_text" hidden="1"/>
          <p:cNvSpPr txBox="1">
            <a:spLocks/>
          </p:cNvSpPr>
          <p:nvPr>
            <p:custDataLst>
              <p:tags r:id="rId14"/>
            </p:custDataLst>
          </p:nvPr>
        </p:nvSpPr>
        <p:spPr>
          <a:xfrm>
            <a:off x="908540" y="2621661"/>
            <a:ext cx="2436923" cy="1274708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93000"/>
              </a:lnSpc>
              <a:buClr>
                <a:prstClr val="black"/>
              </a:buClr>
              <a:buSzPct val="100000"/>
            </a:pPr>
            <a:r>
              <a:rPr lang="de-DE" sz="1846" dirty="0" smtClean="0">
                <a:solidFill>
                  <a:prstClr val="black"/>
                </a:solidFill>
                <a:latin typeface="Arial Narrow"/>
                <a:cs typeface="Arial" pitchFamily="34" charset="0"/>
              </a:rPr>
              <a:t>15 Point Text: Level 0</a:t>
            </a:r>
            <a:endParaRPr lang="de-DE" sz="1846" b="0" dirty="0" smtClean="0">
              <a:solidFill>
                <a:prstClr val="black"/>
              </a:solidFill>
              <a:latin typeface="Arial Narrow"/>
              <a:cs typeface="Arial" pitchFamily="34" charset="0"/>
            </a:endParaRPr>
          </a:p>
          <a:p>
            <a:pPr marL="202554" lvl="1" indent="-202554">
              <a:lnSpc>
                <a:spcPct val="93000"/>
              </a:lnSpc>
              <a:spcBef>
                <a:spcPts val="985"/>
              </a:spcBef>
              <a:buClr>
                <a:prstClr val="black"/>
              </a:buClr>
              <a:buSzPct val="100000"/>
              <a:buFont typeface="Arial Narrow"/>
              <a:buChar char="&gt;"/>
            </a:pPr>
            <a:r>
              <a:rPr lang="de-DE" sz="1846" b="0" dirty="0" smtClean="0">
                <a:solidFill>
                  <a:prstClr val="black"/>
                </a:solidFill>
                <a:latin typeface="Arial Narrow"/>
                <a:cs typeface="Arial" pitchFamily="34" charset="0"/>
              </a:rPr>
              <a:t>Level 1</a:t>
            </a:r>
          </a:p>
          <a:p>
            <a:pPr marL="424098" lvl="2" indent="-205718">
              <a:lnSpc>
                <a:spcPct val="93000"/>
              </a:lnSpc>
              <a:spcBef>
                <a:spcPts val="492"/>
              </a:spcBef>
              <a:buClr>
                <a:prstClr val="black"/>
              </a:buClr>
              <a:buSzPct val="100000"/>
              <a:buFont typeface="Arial Narrow"/>
              <a:buChar char="–"/>
            </a:pPr>
            <a:r>
              <a:rPr lang="de-DE" sz="1846" b="0" dirty="0" smtClean="0">
                <a:solidFill>
                  <a:prstClr val="black"/>
                </a:solidFill>
                <a:latin typeface="Arial Narrow"/>
                <a:cs typeface="Arial" pitchFamily="34" charset="0"/>
              </a:rPr>
              <a:t>Level 2</a:t>
            </a:r>
          </a:p>
          <a:p>
            <a:pPr marL="613993" lvl="3" indent="-177235">
              <a:lnSpc>
                <a:spcPct val="93000"/>
              </a:lnSpc>
              <a:spcBef>
                <a:spcPts val="246"/>
              </a:spcBef>
              <a:buClr>
                <a:prstClr val="black"/>
              </a:buClr>
              <a:buSzPct val="100000"/>
              <a:buFont typeface="Arial Narrow"/>
              <a:buChar char="-"/>
            </a:pPr>
            <a:r>
              <a:rPr lang="de-DE" sz="1846" b="0" dirty="0" smtClean="0">
                <a:solidFill>
                  <a:prstClr val="black"/>
                </a:solidFill>
                <a:latin typeface="Arial Narrow"/>
                <a:cs typeface="Arial" pitchFamily="34" charset="0"/>
              </a:rPr>
              <a:t>Level 3</a:t>
            </a:r>
          </a:p>
        </p:txBody>
      </p:sp>
      <p:sp>
        <p:nvSpPr>
          <p:cNvPr id="46" name="Source" hidden="1"/>
          <p:cNvSpPr txBox="1"/>
          <p:nvPr>
            <p:custDataLst>
              <p:tags r:id="rId15"/>
            </p:custDataLst>
          </p:nvPr>
        </p:nvSpPr>
        <p:spPr>
          <a:xfrm>
            <a:off x="908541" y="6680369"/>
            <a:ext cx="634789" cy="158570"/>
          </a:xfrm>
          <a:prstGeom prst="rect">
            <a:avLst/>
          </a:prstGeom>
          <a:noFill/>
          <a:ln w="9525">
            <a:noFill/>
          </a:ln>
        </p:spPr>
        <p:txBody>
          <a:bodyPr vert="horz" wrap="none" lIns="0" tIns="0" rIns="0" bIns="0" rtlCol="0" anchor="b" anchorCtr="0">
            <a:spAutoFit/>
          </a:bodyPr>
          <a:lstStyle/>
          <a:p>
            <a:pPr marL="457211" indent="-457211">
              <a:lnSpc>
                <a:spcPct val="93000"/>
              </a:lnSpc>
              <a:buClr>
                <a:prstClr val="black"/>
              </a:buClr>
              <a:buSzPct val="100000"/>
            </a:pPr>
            <a:r>
              <a:rPr lang="de-DE" sz="1108" b="0" dirty="0" smtClean="0">
                <a:solidFill>
                  <a:prstClr val="black"/>
                </a:solidFill>
                <a:latin typeface="Arial Narrow"/>
                <a:cs typeface="Arial" pitchFamily="34" charset="0"/>
              </a:rPr>
              <a:t>Source:	</a:t>
            </a:r>
            <a:r>
              <a:rPr lang="de-DE" sz="1108" b="0" dirty="0" err="1" smtClean="0">
                <a:solidFill>
                  <a:prstClr val="black"/>
                </a:solidFill>
                <a:latin typeface="Arial Narrow"/>
                <a:cs typeface="Arial" pitchFamily="34" charset="0"/>
              </a:rPr>
              <a:t>xxx</a:t>
            </a:r>
            <a:endParaRPr lang="de-DE" sz="1108" b="0" dirty="0" smtClean="0">
              <a:solidFill>
                <a:prstClr val="black"/>
              </a:solidFill>
              <a:latin typeface="Arial Narrow"/>
              <a:cs typeface="Arial" pitchFamily="34" charset="0"/>
            </a:endParaRPr>
          </a:p>
        </p:txBody>
      </p:sp>
      <p:sp>
        <p:nvSpPr>
          <p:cNvPr id="47" name="Notes" hidden="1"/>
          <p:cNvSpPr txBox="1"/>
          <p:nvPr>
            <p:custDataLst>
              <p:tags r:id="rId16"/>
            </p:custDataLst>
          </p:nvPr>
        </p:nvSpPr>
        <p:spPr>
          <a:xfrm>
            <a:off x="908541" y="6384452"/>
            <a:ext cx="393698" cy="176138"/>
          </a:xfrm>
          <a:prstGeom prst="rect">
            <a:avLst/>
          </a:prstGeom>
          <a:noFill/>
          <a:ln w="9525">
            <a:noFill/>
          </a:ln>
        </p:spPr>
        <p:txBody>
          <a:bodyPr vert="horz" wrap="none" lIns="0" tIns="0" rIns="0" bIns="0" rtlCol="0" anchor="b" anchorCtr="0">
            <a:spAutoFit/>
          </a:bodyPr>
          <a:lstStyle/>
          <a:p>
            <a:pPr marL="199297" indent="-199297">
              <a:lnSpc>
                <a:spcPct val="93000"/>
              </a:lnSpc>
              <a:buClr>
                <a:prstClr val="black"/>
              </a:buClr>
              <a:buSzPct val="100000"/>
            </a:pPr>
            <a:r>
              <a:rPr lang="de-DE" sz="1231" b="0" dirty="0" smtClean="0">
                <a:solidFill>
                  <a:prstClr val="black"/>
                </a:solidFill>
                <a:latin typeface="Arial Narrow"/>
                <a:cs typeface="Arial" pitchFamily="34" charset="0"/>
              </a:rPr>
              <a:t>1)	</a:t>
            </a:r>
            <a:r>
              <a:rPr lang="de-DE" sz="1231" b="0" dirty="0" err="1" smtClean="0">
                <a:solidFill>
                  <a:prstClr val="black"/>
                </a:solidFill>
                <a:latin typeface="Arial Narrow"/>
                <a:cs typeface="Arial" pitchFamily="34" charset="0"/>
              </a:rPr>
              <a:t>xxx</a:t>
            </a:r>
            <a:endParaRPr lang="de-DE" sz="1231" b="0" dirty="0" smtClean="0">
              <a:solidFill>
                <a:prstClr val="black"/>
              </a:solidFill>
              <a:latin typeface="Arial Narrow"/>
              <a:cs typeface="Arial" pitchFamily="34" charset="0"/>
            </a:endParaRPr>
          </a:p>
        </p:txBody>
      </p:sp>
      <p:grpSp>
        <p:nvGrpSpPr>
          <p:cNvPr id="5" name="Legend" hidden="1"/>
          <p:cNvGrpSpPr/>
          <p:nvPr>
            <p:custDataLst>
              <p:tags r:id="rId17"/>
            </p:custDataLst>
          </p:nvPr>
        </p:nvGrpSpPr>
        <p:grpSpPr>
          <a:xfrm>
            <a:off x="908541" y="6195220"/>
            <a:ext cx="800135" cy="179153"/>
            <a:chOff x="736600" y="6157119"/>
            <a:chExt cx="650109" cy="179153"/>
          </a:xfrm>
        </p:grpSpPr>
        <p:sp>
          <p:nvSpPr>
            <p:cNvPr id="49" name="LegendIcon"/>
            <p:cNvSpPr/>
            <p:nvPr/>
          </p:nvSpPr>
          <p:spPr>
            <a:xfrm>
              <a:off x="736600" y="6157119"/>
              <a:ext cx="215900" cy="146050"/>
            </a:xfrm>
            <a:prstGeom prst="rect">
              <a:avLst/>
            </a:prstGeom>
            <a:noFill/>
            <a:ln w="9525" cap="flat" cmpd="sng" algn="ctr">
              <a:solidFill>
                <a:srgbClr val="003F56"/>
              </a:solidFill>
              <a:prstDash val="solid"/>
            </a:ln>
            <a:effectLst/>
          </p:spPr>
          <p:txBody>
            <a:bodyPr lIns="0" tIns="0" rIns="0" bIns="0" rtlCol="0" anchor="ctr"/>
            <a:lstStyle/>
            <a:p>
              <a:pPr algn="ctr" defTabSz="1125444" fontAlgn="auto">
                <a:lnSpc>
                  <a:spcPct val="93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600" b="0" kern="0" dirty="0">
                <a:solidFill>
                  <a:srgbClr val="000000"/>
                </a:solidFill>
                <a:latin typeface="Arial Narrow"/>
                <a:cs typeface="Arial" pitchFamily="34" charset="0"/>
              </a:endParaRPr>
            </a:p>
          </p:txBody>
        </p:sp>
        <p:sp>
          <p:nvSpPr>
            <p:cNvPr id="50" name="LegendText"/>
            <p:cNvSpPr txBox="1"/>
            <p:nvPr/>
          </p:nvSpPr>
          <p:spPr>
            <a:xfrm>
              <a:off x="1035050" y="6160134"/>
              <a:ext cx="351659" cy="176138"/>
            </a:xfrm>
            <a:prstGeom prst="rect">
              <a:avLst/>
            </a:prstGeom>
            <a:noFill/>
            <a:ln w="9525">
              <a:noFill/>
            </a:ln>
          </p:spPr>
          <p:txBody>
            <a:bodyPr vert="horz" wrap="none" lIns="0" tIns="0" rIns="0" bIns="0" rtlCol="0" anchor="t" anchorCtr="0">
              <a:spAutoFit/>
            </a:bodyPr>
            <a:lstStyle/>
            <a:p>
              <a:pPr defTabSz="1125444" fontAlgn="auto">
                <a:lnSpc>
                  <a:spcPct val="93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ct val="100000"/>
                <a:defRPr/>
              </a:pPr>
              <a:r>
                <a:rPr lang="de-DE" sz="1231" b="0" kern="0" dirty="0">
                  <a:solidFill>
                    <a:sysClr val="windowText" lastClr="000000"/>
                  </a:solidFill>
                  <a:latin typeface="Arial Narrow"/>
                  <a:cs typeface="Arial" pitchFamily="34" charset="0"/>
                </a:rPr>
                <a:t>Legend</a:t>
              </a:r>
            </a:p>
          </p:txBody>
        </p:sp>
      </p:grpSp>
      <p:sp>
        <p:nvSpPr>
          <p:cNvPr id="51" name="Subtitle" hidden="1"/>
          <p:cNvSpPr txBox="1">
            <a:spLocks/>
          </p:cNvSpPr>
          <p:nvPr>
            <p:custDataLst>
              <p:tags r:id="rId18"/>
            </p:custDataLst>
          </p:nvPr>
        </p:nvSpPr>
        <p:spPr>
          <a:xfrm>
            <a:off x="908541" y="2005020"/>
            <a:ext cx="10502421" cy="369973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93000"/>
              </a:lnSpc>
              <a:buClr>
                <a:prstClr val="black"/>
              </a:buClr>
              <a:buSzPct val="100000"/>
            </a:pPr>
            <a:r>
              <a:rPr lang="de-DE" sz="2585" b="0" dirty="0" err="1" smtClean="0">
                <a:solidFill>
                  <a:prstClr val="black"/>
                </a:solidFill>
                <a:latin typeface="Arial Narrow"/>
                <a:cs typeface="Arial" pitchFamily="34" charset="0"/>
              </a:rPr>
              <a:t>Subtitle</a:t>
            </a:r>
            <a:endParaRPr lang="de-DE" sz="2585" b="0" dirty="0" smtClean="0">
              <a:solidFill>
                <a:prstClr val="black"/>
              </a:solidFill>
              <a:latin typeface="Arial Narrow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13955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29" r:id="rId1"/>
    <p:sldLayoutId id="2147484330" r:id="rId2"/>
    <p:sldLayoutId id="2147484331" r:id="rId3"/>
    <p:sldLayoutId id="2147484332" r:id="rId4"/>
    <p:sldLayoutId id="2147484333" r:id="rId5"/>
    <p:sldLayoutId id="2147484334" r:id="rId6"/>
    <p:sldLayoutId id="2147484335" r:id="rId7"/>
    <p:sldLayoutId id="2147484336" r:id="rId8"/>
  </p:sldLayoutIdLst>
  <p:hf hdr="0" dt="0"/>
  <p:txStyles>
    <p:titleStyle>
      <a:lvl1pPr algn="l" defTabSz="1125444" rtl="0" eaLnBrk="1" latinLnBrk="0" hangingPunct="1">
        <a:lnSpc>
          <a:spcPct val="93000"/>
        </a:lnSpc>
        <a:spcBef>
          <a:spcPct val="0"/>
        </a:spcBef>
        <a:buNone/>
        <a:defRPr lang="en-US" sz="3323" b="0" kern="1200" dirty="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0" indent="0" algn="l" defTabSz="1125444" rtl="0" eaLnBrk="1" latinLnBrk="0" hangingPunct="1">
        <a:lnSpc>
          <a:spcPct val="93000"/>
        </a:lnSpc>
        <a:spcBef>
          <a:spcPts val="0"/>
        </a:spcBef>
        <a:buFont typeface="Arial" pitchFamily="34" charset="0"/>
        <a:buNone/>
        <a:defRPr lang="en-US" sz="2585" b="1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283576" indent="-283576" algn="l" defTabSz="1125444" rtl="0" eaLnBrk="1" latinLnBrk="0" hangingPunct="1">
        <a:lnSpc>
          <a:spcPct val="93000"/>
        </a:lnSpc>
        <a:spcBef>
          <a:spcPts val="1477"/>
        </a:spcBef>
        <a:buFont typeface="Arial Narrow" pitchFamily="34" charset="0"/>
        <a:buChar char="&gt;"/>
        <a:defRPr lang="en-US" sz="2585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593738" indent="-288007" algn="l" defTabSz="1125444" rtl="0" eaLnBrk="1" latinLnBrk="0" hangingPunct="1">
        <a:lnSpc>
          <a:spcPct val="93000"/>
        </a:lnSpc>
        <a:spcBef>
          <a:spcPts val="492"/>
        </a:spcBef>
        <a:buFont typeface="Arial Narrow" pitchFamily="34" charset="0"/>
        <a:buChar char="–"/>
        <a:defRPr lang="en-US" sz="2585" b="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859591" indent="-248129" algn="l" defTabSz="1125444" rtl="0" eaLnBrk="1" latinLnBrk="0" hangingPunct="1">
        <a:lnSpc>
          <a:spcPct val="93000"/>
        </a:lnSpc>
        <a:spcBef>
          <a:spcPts val="246"/>
        </a:spcBef>
        <a:buFont typeface="Arial Narrow" pitchFamily="34" charset="0"/>
        <a:buChar char="-"/>
        <a:defRPr lang="en-US" sz="2585" b="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859591" indent="0" algn="l" defTabSz="1125444" rtl="0" eaLnBrk="1" latinLnBrk="0" hangingPunct="1">
        <a:lnSpc>
          <a:spcPct val="93000"/>
        </a:lnSpc>
        <a:spcBef>
          <a:spcPts val="0"/>
        </a:spcBef>
        <a:buFont typeface="Arial" pitchFamily="34" charset="0"/>
        <a:buNone/>
        <a:defRPr sz="2092" kern="1200">
          <a:solidFill>
            <a:schemeClr val="tx1"/>
          </a:solidFill>
          <a:latin typeface="Arial" pitchFamily="34" charset="0"/>
          <a:ea typeface="+mn-ea"/>
          <a:cs typeface="+mn-cs"/>
        </a:defRPr>
      </a:lvl5pPr>
      <a:lvl6pPr marL="3094970" indent="-281361" algn="l" defTabSz="1125444" rtl="0" eaLnBrk="1" latinLnBrk="0" hangingPunct="1">
        <a:spcBef>
          <a:spcPct val="20000"/>
        </a:spcBef>
        <a:buFont typeface="Arial" pitchFamily="34" charset="0"/>
        <a:buChar char="•"/>
        <a:defRPr sz="2462" kern="1200">
          <a:solidFill>
            <a:schemeClr val="tx1"/>
          </a:solidFill>
          <a:latin typeface="+mn-lt"/>
          <a:ea typeface="+mn-ea"/>
          <a:cs typeface="+mn-cs"/>
        </a:defRPr>
      </a:lvl6pPr>
      <a:lvl7pPr marL="3657691" indent="-281361" algn="l" defTabSz="1125444" rtl="0" eaLnBrk="1" latinLnBrk="0" hangingPunct="1">
        <a:spcBef>
          <a:spcPct val="20000"/>
        </a:spcBef>
        <a:buFont typeface="Arial" pitchFamily="34" charset="0"/>
        <a:buChar char="•"/>
        <a:defRPr sz="2462" kern="1200">
          <a:solidFill>
            <a:schemeClr val="tx1"/>
          </a:solidFill>
          <a:latin typeface="+mn-lt"/>
          <a:ea typeface="+mn-ea"/>
          <a:cs typeface="+mn-cs"/>
        </a:defRPr>
      </a:lvl7pPr>
      <a:lvl8pPr marL="4220413" indent="-281361" algn="l" defTabSz="1125444" rtl="0" eaLnBrk="1" latinLnBrk="0" hangingPunct="1">
        <a:spcBef>
          <a:spcPct val="20000"/>
        </a:spcBef>
        <a:buFont typeface="Arial" pitchFamily="34" charset="0"/>
        <a:buChar char="•"/>
        <a:defRPr sz="2462" kern="1200">
          <a:solidFill>
            <a:schemeClr val="tx1"/>
          </a:solidFill>
          <a:latin typeface="+mn-lt"/>
          <a:ea typeface="+mn-ea"/>
          <a:cs typeface="+mn-cs"/>
        </a:defRPr>
      </a:lvl8pPr>
      <a:lvl9pPr marL="4783135" indent="-281361" algn="l" defTabSz="1125444" rtl="0" eaLnBrk="1" latinLnBrk="0" hangingPunct="1">
        <a:spcBef>
          <a:spcPct val="20000"/>
        </a:spcBef>
        <a:buFont typeface="Arial" pitchFamily="34" charset="0"/>
        <a:buChar char="•"/>
        <a:defRPr sz="246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1pPr>
      <a:lvl2pPr marL="562722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2pPr>
      <a:lvl3pPr marL="1125444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3pPr>
      <a:lvl4pPr marL="1688165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4pPr>
      <a:lvl5pPr marL="2250887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5pPr>
      <a:lvl6pPr marL="2813609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6pPr>
      <a:lvl7pPr marL="3376331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7pPr>
      <a:lvl8pPr marL="3939052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8pPr>
      <a:lvl9pPr marL="4501774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2.xml"/><Relationship Id="rId1" Type="http://schemas.openxmlformats.org/officeDocument/2006/relationships/tags" Target="../tags/tag7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86.xml"/><Relationship Id="rId13" Type="http://schemas.openxmlformats.org/officeDocument/2006/relationships/tags" Target="../tags/tag91.xml"/><Relationship Id="rId18" Type="http://schemas.openxmlformats.org/officeDocument/2006/relationships/slideLayout" Target="../slideLayouts/slideLayout2.xml"/><Relationship Id="rId3" Type="http://schemas.openxmlformats.org/officeDocument/2006/relationships/tags" Target="../tags/tag81.xml"/><Relationship Id="rId21" Type="http://schemas.openxmlformats.org/officeDocument/2006/relationships/oleObject" Target="../embeddings/oleObject3.bin"/><Relationship Id="rId7" Type="http://schemas.openxmlformats.org/officeDocument/2006/relationships/tags" Target="../tags/tag85.xml"/><Relationship Id="rId12" Type="http://schemas.openxmlformats.org/officeDocument/2006/relationships/tags" Target="../tags/tag90.xml"/><Relationship Id="rId17" Type="http://schemas.openxmlformats.org/officeDocument/2006/relationships/tags" Target="../tags/tag95.xml"/><Relationship Id="rId2" Type="http://schemas.openxmlformats.org/officeDocument/2006/relationships/tags" Target="../tags/tag80.xml"/><Relationship Id="rId16" Type="http://schemas.openxmlformats.org/officeDocument/2006/relationships/tags" Target="../tags/tag94.xml"/><Relationship Id="rId20" Type="http://schemas.openxmlformats.org/officeDocument/2006/relationships/image" Target="../media/image1.emf"/><Relationship Id="rId1" Type="http://schemas.openxmlformats.org/officeDocument/2006/relationships/vmlDrawing" Target="../drawings/vmlDrawing2.vml"/><Relationship Id="rId6" Type="http://schemas.openxmlformats.org/officeDocument/2006/relationships/tags" Target="../tags/tag84.xml"/><Relationship Id="rId11" Type="http://schemas.openxmlformats.org/officeDocument/2006/relationships/tags" Target="../tags/tag89.xml"/><Relationship Id="rId5" Type="http://schemas.openxmlformats.org/officeDocument/2006/relationships/tags" Target="../tags/tag83.xml"/><Relationship Id="rId15" Type="http://schemas.openxmlformats.org/officeDocument/2006/relationships/tags" Target="../tags/tag93.xml"/><Relationship Id="rId10" Type="http://schemas.openxmlformats.org/officeDocument/2006/relationships/tags" Target="../tags/tag88.xml"/><Relationship Id="rId19" Type="http://schemas.openxmlformats.org/officeDocument/2006/relationships/oleObject" Target="../embeddings/oleObject2.bin"/><Relationship Id="rId4" Type="http://schemas.openxmlformats.org/officeDocument/2006/relationships/tags" Target="../tags/tag82.xml"/><Relationship Id="rId9" Type="http://schemas.openxmlformats.org/officeDocument/2006/relationships/tags" Target="../tags/tag87.xml"/><Relationship Id="rId14" Type="http://schemas.openxmlformats.org/officeDocument/2006/relationships/tags" Target="../tags/tag92.xml"/><Relationship Id="rId22" Type="http://schemas.openxmlformats.org/officeDocument/2006/relationships/image" Target="../media/image2.em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102.xml"/><Relationship Id="rId13" Type="http://schemas.openxmlformats.org/officeDocument/2006/relationships/tags" Target="../tags/tag107.xml"/><Relationship Id="rId18" Type="http://schemas.openxmlformats.org/officeDocument/2006/relationships/image" Target="../media/image3.emf"/><Relationship Id="rId3" Type="http://schemas.openxmlformats.org/officeDocument/2006/relationships/tags" Target="../tags/tag97.xml"/><Relationship Id="rId7" Type="http://schemas.openxmlformats.org/officeDocument/2006/relationships/tags" Target="../tags/tag101.xml"/><Relationship Id="rId12" Type="http://schemas.openxmlformats.org/officeDocument/2006/relationships/tags" Target="../tags/tag106.xml"/><Relationship Id="rId17" Type="http://schemas.openxmlformats.org/officeDocument/2006/relationships/oleObject" Target="../embeddings/oleObject5.bin"/><Relationship Id="rId2" Type="http://schemas.openxmlformats.org/officeDocument/2006/relationships/tags" Target="../tags/tag96.xml"/><Relationship Id="rId16" Type="http://schemas.openxmlformats.org/officeDocument/2006/relationships/image" Target="../media/image1.emf"/><Relationship Id="rId1" Type="http://schemas.openxmlformats.org/officeDocument/2006/relationships/vmlDrawing" Target="../drawings/vmlDrawing3.vml"/><Relationship Id="rId6" Type="http://schemas.openxmlformats.org/officeDocument/2006/relationships/tags" Target="../tags/tag100.xml"/><Relationship Id="rId11" Type="http://schemas.openxmlformats.org/officeDocument/2006/relationships/tags" Target="../tags/tag105.xml"/><Relationship Id="rId5" Type="http://schemas.openxmlformats.org/officeDocument/2006/relationships/tags" Target="../tags/tag99.xml"/><Relationship Id="rId15" Type="http://schemas.openxmlformats.org/officeDocument/2006/relationships/oleObject" Target="../embeddings/oleObject4.bin"/><Relationship Id="rId10" Type="http://schemas.openxmlformats.org/officeDocument/2006/relationships/tags" Target="../tags/tag104.xml"/><Relationship Id="rId4" Type="http://schemas.openxmlformats.org/officeDocument/2006/relationships/tags" Target="../tags/tag98.xml"/><Relationship Id="rId9" Type="http://schemas.openxmlformats.org/officeDocument/2006/relationships/tags" Target="../tags/tag103.xml"/><Relationship Id="rId14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1"/>
          <p:cNvGrpSpPr/>
          <p:nvPr/>
        </p:nvGrpSpPr>
        <p:grpSpPr>
          <a:xfrm>
            <a:off x="-923717" y="0"/>
            <a:ext cx="13115718" cy="4311161"/>
            <a:chOff x="-923717" y="0"/>
            <a:chExt cx="13115718" cy="4311161"/>
          </a:xfrm>
        </p:grpSpPr>
        <p:sp>
          <p:nvSpPr>
            <p:cNvPr id="13" name="AutoShape 3"/>
            <p:cNvSpPr>
              <a:spLocks noChangeAspect="1" noChangeArrowheads="1" noTextEdit="1"/>
            </p:cNvSpPr>
            <p:nvPr/>
          </p:nvSpPr>
          <p:spPr bwMode="auto">
            <a:xfrm flipH="1">
              <a:off x="-923717" y="0"/>
              <a:ext cx="13111222" cy="431116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12542" tIns="56271" rIns="112542" bIns="56271" numCol="1" anchor="t" anchorCtr="0" compatLnSpc="1">
              <a:prstTxWarp prst="textNoShape">
                <a:avLst/>
              </a:prstTxWarp>
            </a:bodyPr>
            <a:lstStyle/>
            <a:p>
              <a:endParaRPr lang="ru-RU" sz="1600">
                <a:solidFill>
                  <a:prstClr val="black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24" name="Freeform 6"/>
            <p:cNvSpPr>
              <a:spLocks/>
            </p:cNvSpPr>
            <p:nvPr/>
          </p:nvSpPr>
          <p:spPr bwMode="auto">
            <a:xfrm flipH="1">
              <a:off x="470137" y="0"/>
              <a:ext cx="11721864" cy="4089071"/>
            </a:xfrm>
            <a:custGeom>
              <a:avLst/>
              <a:gdLst>
                <a:gd name="T0" fmla="*/ 0 w 5214"/>
                <a:gd name="T1" fmla="*/ 0 h 2191"/>
                <a:gd name="T2" fmla="*/ 0 w 5214"/>
                <a:gd name="T3" fmla="*/ 2191 h 2191"/>
                <a:gd name="T4" fmla="*/ 5214 w 5214"/>
                <a:gd name="T5" fmla="*/ 0 h 2191"/>
                <a:gd name="T6" fmla="*/ 0 w 5214"/>
                <a:gd name="T7" fmla="*/ 0 h 2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214" h="2191">
                  <a:moveTo>
                    <a:pt x="0" y="0"/>
                  </a:moveTo>
                  <a:lnTo>
                    <a:pt x="0" y="2191"/>
                  </a:lnTo>
                  <a:lnTo>
                    <a:pt x="521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128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2542" tIns="56271" rIns="112542" bIns="56271" numCol="1" anchor="t" anchorCtr="0" compatLnSpc="1">
              <a:prstTxWarp prst="textNoShape">
                <a:avLst/>
              </a:prstTxWarp>
            </a:bodyPr>
            <a:lstStyle/>
            <a:p>
              <a:endParaRPr lang="ru-RU" sz="1600">
                <a:solidFill>
                  <a:prstClr val="black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25" name="Freeform 7"/>
            <p:cNvSpPr>
              <a:spLocks/>
            </p:cNvSpPr>
            <p:nvPr/>
          </p:nvSpPr>
          <p:spPr bwMode="auto">
            <a:xfrm flipH="1">
              <a:off x="4988922" y="0"/>
              <a:ext cx="6820893" cy="1950287"/>
            </a:xfrm>
            <a:custGeom>
              <a:avLst/>
              <a:gdLst>
                <a:gd name="T0" fmla="*/ 953 w 3034"/>
                <a:gd name="T1" fmla="*/ 0 h 1045"/>
                <a:gd name="T2" fmla="*/ 0 w 3034"/>
                <a:gd name="T3" fmla="*/ 1045 h 1045"/>
                <a:gd name="T4" fmla="*/ 3034 w 3034"/>
                <a:gd name="T5" fmla="*/ 0 h 1045"/>
                <a:gd name="T6" fmla="*/ 953 w 3034"/>
                <a:gd name="T7" fmla="*/ 0 h 10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034" h="1045">
                  <a:moveTo>
                    <a:pt x="953" y="0"/>
                  </a:moveTo>
                  <a:lnTo>
                    <a:pt x="0" y="1045"/>
                  </a:lnTo>
                  <a:lnTo>
                    <a:pt x="3034" y="0"/>
                  </a:lnTo>
                  <a:lnTo>
                    <a:pt x="953" y="0"/>
                  </a:lnTo>
                  <a:close/>
                </a:path>
              </a:pathLst>
            </a:custGeom>
            <a:solidFill>
              <a:srgbClr val="B511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2542" tIns="56271" rIns="112542" bIns="56271" numCol="1" anchor="t" anchorCtr="0" compatLnSpc="1">
              <a:prstTxWarp prst="textNoShape">
                <a:avLst/>
              </a:prstTxWarp>
            </a:bodyPr>
            <a:lstStyle/>
            <a:p>
              <a:endParaRPr lang="ru-RU" sz="1600">
                <a:solidFill>
                  <a:prstClr val="black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26" name="Freeform 8"/>
            <p:cNvSpPr>
              <a:spLocks/>
            </p:cNvSpPr>
            <p:nvPr/>
          </p:nvSpPr>
          <p:spPr bwMode="auto">
            <a:xfrm flipH="1">
              <a:off x="2286644" y="0"/>
              <a:ext cx="9905357" cy="2680012"/>
            </a:xfrm>
            <a:custGeom>
              <a:avLst/>
              <a:gdLst>
                <a:gd name="T0" fmla="*/ 0 w 4406"/>
                <a:gd name="T1" fmla="*/ 0 h 1436"/>
                <a:gd name="T2" fmla="*/ 0 w 4406"/>
                <a:gd name="T3" fmla="*/ 1436 h 1436"/>
                <a:gd name="T4" fmla="*/ 4110 w 4406"/>
                <a:gd name="T5" fmla="*/ 405 h 1436"/>
                <a:gd name="T6" fmla="*/ 4406 w 4406"/>
                <a:gd name="T7" fmla="*/ 0 h 1436"/>
                <a:gd name="T8" fmla="*/ 0 w 4406"/>
                <a:gd name="T9" fmla="*/ 0 h 14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06" h="1436">
                  <a:moveTo>
                    <a:pt x="0" y="0"/>
                  </a:moveTo>
                  <a:lnTo>
                    <a:pt x="0" y="1436"/>
                  </a:lnTo>
                  <a:lnTo>
                    <a:pt x="4110" y="405"/>
                  </a:lnTo>
                  <a:lnTo>
                    <a:pt x="4406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C41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2542" tIns="56271" rIns="112542" bIns="56271" numCol="1" anchor="t" anchorCtr="0" compatLnSpc="1">
              <a:prstTxWarp prst="textNoShape">
                <a:avLst/>
              </a:prstTxWarp>
            </a:bodyPr>
            <a:lstStyle/>
            <a:p>
              <a:endParaRPr lang="ru-RU" sz="1600">
                <a:solidFill>
                  <a:prstClr val="black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27" name="Freeform 9"/>
            <p:cNvSpPr>
              <a:spLocks/>
            </p:cNvSpPr>
            <p:nvPr/>
          </p:nvSpPr>
          <p:spPr bwMode="auto">
            <a:xfrm flipH="1">
              <a:off x="3084738" y="0"/>
              <a:ext cx="9107263" cy="2543772"/>
            </a:xfrm>
            <a:custGeom>
              <a:avLst/>
              <a:gdLst>
                <a:gd name="T0" fmla="*/ 0 w 4051"/>
                <a:gd name="T1" fmla="*/ 0 h 1363"/>
                <a:gd name="T2" fmla="*/ 0 w 4051"/>
                <a:gd name="T3" fmla="*/ 1363 h 1363"/>
                <a:gd name="T4" fmla="*/ 4051 w 4051"/>
                <a:gd name="T5" fmla="*/ 0 h 1363"/>
                <a:gd name="T6" fmla="*/ 0 w 4051"/>
                <a:gd name="T7" fmla="*/ 0 h 1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51" h="1363">
                  <a:moveTo>
                    <a:pt x="0" y="0"/>
                  </a:moveTo>
                  <a:lnTo>
                    <a:pt x="0" y="1363"/>
                  </a:lnTo>
                  <a:lnTo>
                    <a:pt x="405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2542" tIns="56271" rIns="112542" bIns="56271" numCol="1" anchor="t" anchorCtr="0" compatLnSpc="1">
              <a:prstTxWarp prst="textNoShape">
                <a:avLst/>
              </a:prstTxWarp>
            </a:bodyPr>
            <a:lstStyle/>
            <a:p>
              <a:endParaRPr lang="ru-RU" sz="1600">
                <a:solidFill>
                  <a:prstClr val="black"/>
                </a:solidFill>
                <a:latin typeface="Calibri" panose="020F0502020204030204" pitchFamily="34" charset="0"/>
              </a:endParaRPr>
            </a:p>
          </p:txBody>
        </p:sp>
      </p:grpSp>
      <p:sp>
        <p:nvSpPr>
          <p:cNvPr id="4" name="Title 3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487488" y="4089071"/>
            <a:ext cx="9441968" cy="933589"/>
          </a:xfrm>
        </p:spPr>
        <p:txBody>
          <a:bodyPr/>
          <a:lstStyle/>
          <a:p>
            <a:r>
              <a:rPr lang="ru-RU" dirty="0">
                <a:latin typeface="Calibri" panose="020F0502020204030204" pitchFamily="34" charset="0"/>
              </a:rPr>
              <a:t>ОТЧЁТ</a:t>
            </a:r>
          </a:p>
        </p:txBody>
      </p:sp>
      <p:sp>
        <p:nvSpPr>
          <p:cNvPr id="14" name="Заголовок 1"/>
          <p:cNvSpPr txBox="1">
            <a:spLocks/>
          </p:cNvSpPr>
          <p:nvPr/>
        </p:nvSpPr>
        <p:spPr>
          <a:xfrm>
            <a:off x="2815047" y="753915"/>
            <a:ext cx="6135524" cy="1068796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>
            <a:lvl1pPr algn="l" defTabSz="914400" rtl="0" eaLnBrk="1" latinLnBrk="0" hangingPunct="1">
              <a:lnSpc>
                <a:spcPct val="93000"/>
              </a:lnSpc>
              <a:spcBef>
                <a:spcPts val="0"/>
              </a:spcBef>
              <a:buNone/>
              <a:defRPr kumimoji="0" lang="en-US" sz="53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endParaRPr lang="ru-RU" sz="6646">
              <a:solidFill>
                <a:srgbClr val="2C4155">
                  <a:lumMod val="50000"/>
                </a:srgbClr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16" name="Подзаголовок 2"/>
          <p:cNvSpPr txBox="1">
            <a:spLocks/>
          </p:cNvSpPr>
          <p:nvPr/>
        </p:nvSpPr>
        <p:spPr>
          <a:xfrm>
            <a:off x="1487488" y="1908854"/>
            <a:ext cx="8088332" cy="904686"/>
          </a:xfrm>
          <a:prstGeom prst="rect">
            <a:avLst/>
          </a:prstGeom>
        </p:spPr>
        <p:txBody>
          <a:bodyPr vert="horz" lIns="112542" tIns="56271" rIns="112542" bIns="56271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ru-RU" sz="2462" dirty="0">
              <a:solidFill>
                <a:prstClr val="black"/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5"/>
          </p:nvPr>
        </p:nvSpPr>
        <p:spPr>
          <a:xfrm>
            <a:off x="465641" y="3012383"/>
            <a:ext cx="8682633" cy="2507967"/>
          </a:xfrm>
        </p:spPr>
        <p:txBody>
          <a:bodyPr/>
          <a:lstStyle/>
          <a:p>
            <a:pPr lvl="0" algn="ctr"/>
            <a:r>
              <a:rPr lang="ru-RU" sz="4000" dirty="0" smtClean="0">
                <a:solidFill>
                  <a:schemeClr val="tx2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«</a:t>
            </a:r>
            <a:r>
              <a:rPr lang="ru-RU" sz="4000" dirty="0" smtClean="0">
                <a:solidFill>
                  <a:srgbClr val="2C4155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Практика </a:t>
            </a:r>
            <a:r>
              <a:rPr lang="ru-RU" sz="4000" dirty="0">
                <a:solidFill>
                  <a:srgbClr val="2C4155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осуществления ведомственного контроля в Департаменте здравоохранения города </a:t>
            </a:r>
            <a:r>
              <a:rPr lang="ru-RU" sz="4000" dirty="0" smtClean="0">
                <a:solidFill>
                  <a:srgbClr val="2C4155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Москвы</a:t>
            </a:r>
            <a:r>
              <a:rPr lang="ru-RU" sz="4000" dirty="0" smtClean="0">
                <a:solidFill>
                  <a:schemeClr val="tx2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»</a:t>
            </a:r>
            <a:endParaRPr lang="ru-RU" sz="4000" dirty="0">
              <a:solidFill>
                <a:schemeClr val="tx2"/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4"/>
          </p:nvPr>
        </p:nvSpPr>
        <p:spPr>
          <a:xfrm>
            <a:off x="465641" y="5881759"/>
            <a:ext cx="10560232" cy="1224136"/>
          </a:xfrm>
        </p:spPr>
        <p:txBody>
          <a:bodyPr/>
          <a:lstStyle/>
          <a:p>
            <a:r>
              <a:rPr lang="ru-RU" dirty="0" smtClean="0">
                <a:solidFill>
                  <a:srgbClr val="C00000"/>
                </a:solidFill>
                <a:latin typeface="Calibri" panose="020F0502020204030204" pitchFamily="34" charset="0"/>
              </a:rPr>
              <a:t>     </a:t>
            </a:r>
          </a:p>
          <a:p>
            <a:endParaRPr lang="ru-RU" dirty="0">
              <a:solidFill>
                <a:srgbClr val="C00000"/>
              </a:solidFill>
              <a:latin typeface="Calibri" panose="020F0502020204030204" pitchFamily="34" charset="0"/>
            </a:endParaRPr>
          </a:p>
          <a:p>
            <a:endParaRPr lang="ru-RU" dirty="0" smtClean="0">
              <a:solidFill>
                <a:srgbClr val="C00000"/>
              </a:solidFill>
              <a:latin typeface="Calibri" panose="020F0502020204030204" pitchFamily="34" charset="0"/>
            </a:endParaRPr>
          </a:p>
          <a:p>
            <a:endParaRPr lang="ru-RU" dirty="0">
              <a:solidFill>
                <a:srgbClr val="C00000"/>
              </a:solidFill>
              <a:latin typeface="Calibri" panose="020F0502020204030204" pitchFamily="34" charset="0"/>
            </a:endParaRPr>
          </a:p>
          <a:p>
            <a:endParaRPr lang="ru-RU" b="1" dirty="0" smtClean="0">
              <a:solidFill>
                <a:srgbClr val="C00000"/>
              </a:solidFill>
              <a:latin typeface="Calibri" panose="020F0502020204030204" pitchFamily="34" charset="0"/>
            </a:endParaRPr>
          </a:p>
          <a:p>
            <a:r>
              <a:rPr lang="ru-RU" sz="2400" dirty="0" smtClean="0">
                <a:solidFill>
                  <a:srgbClr val="C00000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СПИКЕР: </a:t>
            </a:r>
            <a:r>
              <a:rPr lang="ru-RU" sz="2400" dirty="0">
                <a:solidFill>
                  <a:srgbClr val="2C4155">
                    <a:lumMod val="75000"/>
                  </a:srgbClr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Антипова Юлия Олеговна -  Заместитель руководителя Департамента здравоохранения города Москвы </a:t>
            </a:r>
            <a:endParaRPr lang="ru-RU" sz="2400" dirty="0" smtClean="0">
              <a:solidFill>
                <a:srgbClr val="C00000"/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ru-RU" sz="2400" dirty="0" smtClean="0">
                <a:solidFill>
                  <a:srgbClr val="C00000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ДАТА</a:t>
            </a:r>
            <a:r>
              <a:rPr lang="ru-RU" sz="2400" dirty="0">
                <a:solidFill>
                  <a:srgbClr val="C00000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: </a:t>
            </a:r>
            <a:r>
              <a:rPr lang="ru-RU" sz="2400" dirty="0" smtClean="0">
                <a:solidFill>
                  <a:schemeClr val="tx2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21.04.2016 </a:t>
            </a:r>
            <a:endParaRPr lang="ru-RU" sz="2400" dirty="0" smtClean="0">
              <a:solidFill>
                <a:srgbClr val="C00000"/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ru-RU" sz="2400" dirty="0">
                <a:solidFill>
                  <a:srgbClr val="C00000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2400" dirty="0" smtClean="0">
                <a:solidFill>
                  <a:srgbClr val="C00000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                                                                                                                              </a:t>
            </a:r>
            <a:endParaRPr lang="ru-RU" sz="2400" dirty="0">
              <a:solidFill>
                <a:schemeClr val="tx2"/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5"/>
          </p:nvPr>
        </p:nvSpPr>
        <p:spPr>
          <a:xfrm>
            <a:off x="470136" y="1686764"/>
            <a:ext cx="2737604" cy="790574"/>
          </a:xfrm>
        </p:spPr>
        <p:txBody>
          <a:bodyPr/>
          <a:lstStyle/>
          <a:p>
            <a:r>
              <a:rPr lang="ru-RU" sz="4000" b="1" dirty="0" smtClean="0">
                <a:solidFill>
                  <a:srgbClr val="C00000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СЕКЦИЯ </a:t>
            </a:r>
            <a:r>
              <a:rPr lang="ru-RU" sz="4000" b="1" dirty="0">
                <a:solidFill>
                  <a:srgbClr val="C00000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0105819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b="1" dirty="0"/>
              <a:t>Система организации ведомственного контроля</a:t>
            </a:r>
          </a:p>
        </p:txBody>
      </p:sp>
      <p:sp>
        <p:nvSpPr>
          <p:cNvPr id="26" name="Text12"/>
          <p:cNvSpPr>
            <a:spLocks noChangeArrowheads="1"/>
          </p:cNvSpPr>
          <p:nvPr/>
        </p:nvSpPr>
        <p:spPr bwMode="auto">
          <a:xfrm>
            <a:off x="1261265" y="3175523"/>
            <a:ext cx="4480235" cy="2800767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just"/>
            <a:r>
              <a:rPr lang="ru-RU" b="0" dirty="0"/>
              <a:t>	В целях реализации постановления Правительства Москвы от 27.08.2014г. №488-ПП «Об утверждении Порядка осуществления ведомственного контроля в сфере закупок товаров, работ, услуг для обеспечения государственных нужд города Москвы» приказом ДЗМ от 22.09.2014г. № 819 «Об утверждении регламента по осуществлению Департаментом здравоохранения города Москвы ведомственного контроля в сфере закупок товаров, работ, услуг для обеспечения нужд учреждений здравоохранения, подведомственных Департаменту здравоохранения города Москвы» </a:t>
            </a:r>
            <a:r>
              <a:rPr lang="ru-RU" b="0" dirty="0" err="1"/>
              <a:t>ГКУ</a:t>
            </a:r>
            <a:r>
              <a:rPr lang="ru-RU" b="0" dirty="0"/>
              <a:t> «</a:t>
            </a:r>
            <a:r>
              <a:rPr lang="ru-RU" b="0" dirty="0" err="1"/>
              <a:t>СФК</a:t>
            </a:r>
            <a:r>
              <a:rPr lang="ru-RU" b="0" dirty="0"/>
              <a:t> ДЗМ» наделено полномочиями, по осуществлению ведомственного контроля в сфере закупок.</a:t>
            </a:r>
            <a:endParaRPr lang="ru-RU" sz="1600" b="0" dirty="0">
              <a:latin typeface="+mn-lt"/>
            </a:endParaRPr>
          </a:p>
        </p:txBody>
      </p:sp>
      <p:sp>
        <p:nvSpPr>
          <p:cNvPr id="27" name="Line 5"/>
          <p:cNvSpPr>
            <a:spLocks noChangeShapeType="1"/>
          </p:cNvSpPr>
          <p:nvPr/>
        </p:nvSpPr>
        <p:spPr bwMode="auto">
          <a:xfrm>
            <a:off x="1261265" y="3021169"/>
            <a:ext cx="4480235" cy="0"/>
          </a:xfrm>
          <a:prstGeom prst="line">
            <a:avLst/>
          </a:prstGeom>
          <a:noFill/>
          <a:ln w="22225">
            <a:solidFill>
              <a:schemeClr val="bg1">
                <a:lumMod val="65000"/>
              </a:schemeClr>
            </a:solidFill>
            <a:round/>
            <a:headEnd/>
            <a:tailEnd/>
          </a:ln>
        </p:spPr>
        <p:txBody>
          <a:bodyPr lIns="0" tIns="0" rIns="0" bIns="0">
            <a:spAutoFit/>
          </a:bodyPr>
          <a:lstStyle/>
          <a:p>
            <a:endParaRPr lang="ru-RU" sz="1600">
              <a:solidFill>
                <a:schemeClr val="tx1">
                  <a:lumMod val="90000"/>
                  <a:lumOff val="10000"/>
                </a:schemeClr>
              </a:solidFill>
              <a:latin typeface="+mn-lt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876575" y="2041162"/>
            <a:ext cx="5252916" cy="4340166"/>
          </a:xfrm>
          <a:prstGeom prst="rect">
            <a:avLst/>
          </a:prstGeom>
          <a:noFill/>
          <a:ln w="28575" cmpd="sng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615" tIns="0" rIns="88615" bIns="0" rtlCol="0" anchor="ctr"/>
          <a:lstStyle/>
          <a:p>
            <a:pPr algn="ctr">
              <a:lnSpc>
                <a:spcPct val="90000"/>
              </a:lnSpc>
              <a:spcBef>
                <a:spcPts val="369"/>
              </a:spcBef>
            </a:pPr>
            <a:endParaRPr lang="ru-RU" sz="1846" b="0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10" name="Rectangle 3"/>
          <p:cNvSpPr>
            <a:spLocks noChangeArrowheads="1"/>
          </p:cNvSpPr>
          <p:nvPr/>
        </p:nvSpPr>
        <p:spPr bwMode="auto">
          <a:xfrm>
            <a:off x="1" y="1914195"/>
            <a:ext cx="227347" cy="1079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12542" tIns="56271" rIns="112542" bIns="56271" numCol="1" anchor="ctr" anchorCtr="0" compatLnSpc="1">
            <a:prstTxWarp prst="textNoShape">
              <a:avLst/>
            </a:prstTxWarp>
            <a:spAutoFit/>
          </a:bodyPr>
          <a:lstStyle/>
          <a:p>
            <a:pPr defTabSz="1125444" eaLnBrk="0" hangingPunct="0"/>
            <a:endParaRPr lang="ru-RU" altLang="ru-RU" sz="1354" b="0">
              <a:ea typeface="Times New Roman" panose="02020603050405020304" pitchFamily="18" charset="0"/>
            </a:endParaRPr>
          </a:p>
          <a:p>
            <a:pPr defTabSz="1125444" eaLnBrk="0" hangingPunct="0"/>
            <a:r>
              <a:rPr lang="ru-RU" altLang="ru-RU" sz="1354" b="0">
                <a:latin typeface="Arial" panose="020B0604020202020204" pitchFamily="34" charset="0"/>
                <a:ea typeface="Times New Roman" panose="02020603050405020304" pitchFamily="18" charset="0"/>
              </a:rPr>
              <a:t/>
            </a:r>
            <a:br>
              <a:rPr lang="ru-RU" altLang="ru-RU" sz="1354" b="0">
                <a:latin typeface="Arial" panose="020B0604020202020204" pitchFamily="34" charset="0"/>
                <a:ea typeface="Times New Roman" panose="02020603050405020304" pitchFamily="18" charset="0"/>
              </a:rPr>
            </a:br>
            <a:r>
              <a:rPr lang="ru-RU" altLang="ru-RU" sz="1354" b="0">
                <a:latin typeface="Arial" panose="020B0604020202020204" pitchFamily="34" charset="0"/>
                <a:ea typeface="Times New Roman" panose="02020603050405020304" pitchFamily="18" charset="0"/>
              </a:rPr>
              <a:t/>
            </a:r>
            <a:br>
              <a:rPr lang="ru-RU" altLang="ru-RU" sz="1354" b="0">
                <a:latin typeface="Arial" panose="020B0604020202020204" pitchFamily="34" charset="0"/>
                <a:ea typeface="Times New Roman" panose="02020603050405020304" pitchFamily="18" charset="0"/>
              </a:rPr>
            </a:br>
            <a:endParaRPr lang="ru-RU" altLang="ru-RU" sz="2215" b="0">
              <a:latin typeface="Arial" panose="020B0604020202020204" pitchFamily="34" charset="0"/>
            </a:endParaRPr>
          </a:p>
        </p:txBody>
      </p:sp>
      <p:sp>
        <p:nvSpPr>
          <p:cNvPr id="28" name="Text12"/>
          <p:cNvSpPr>
            <a:spLocks noChangeArrowheads="1"/>
          </p:cNvSpPr>
          <p:nvPr/>
        </p:nvSpPr>
        <p:spPr bwMode="auto">
          <a:xfrm>
            <a:off x="1202385" y="2570233"/>
            <a:ext cx="4539115" cy="321948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defTabSz="406410"/>
            <a:r>
              <a:rPr lang="ru-RU" altLang="de-DE" sz="2092" dirty="0">
                <a:solidFill>
                  <a:schemeClr val="accent1"/>
                </a:solidFill>
                <a:latin typeface="+mn-lt"/>
              </a:rPr>
              <a:t>Нормативное поле</a:t>
            </a:r>
          </a:p>
        </p:txBody>
      </p:sp>
      <p:sp>
        <p:nvSpPr>
          <p:cNvPr id="24" name="Text12"/>
          <p:cNvSpPr>
            <a:spLocks noChangeArrowheads="1"/>
          </p:cNvSpPr>
          <p:nvPr/>
        </p:nvSpPr>
        <p:spPr bwMode="auto">
          <a:xfrm>
            <a:off x="6569330" y="2195516"/>
            <a:ext cx="5243801" cy="24622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endParaRPr lang="ru-RU" sz="1600" b="0" dirty="0">
              <a:latin typeface="+mn-lt"/>
            </a:endParaRPr>
          </a:p>
        </p:txBody>
      </p:sp>
      <p:sp>
        <p:nvSpPr>
          <p:cNvPr id="29" name="Line 5"/>
          <p:cNvSpPr>
            <a:spLocks noChangeShapeType="1"/>
          </p:cNvSpPr>
          <p:nvPr/>
        </p:nvSpPr>
        <p:spPr bwMode="auto">
          <a:xfrm>
            <a:off x="6538913" y="2041162"/>
            <a:ext cx="5243801" cy="0"/>
          </a:xfrm>
          <a:prstGeom prst="line">
            <a:avLst/>
          </a:prstGeom>
          <a:noFill/>
          <a:ln w="22225">
            <a:solidFill>
              <a:schemeClr val="bg1">
                <a:lumMod val="65000"/>
              </a:schemeClr>
            </a:solidFill>
            <a:round/>
            <a:headEnd/>
            <a:tailEnd/>
          </a:ln>
        </p:spPr>
        <p:txBody>
          <a:bodyPr lIns="0" tIns="0" rIns="0" bIns="0">
            <a:spAutoFit/>
          </a:bodyPr>
          <a:lstStyle/>
          <a:p>
            <a:endParaRPr lang="ru-RU" sz="1600">
              <a:solidFill>
                <a:schemeClr val="tx1">
                  <a:lumMod val="90000"/>
                  <a:lumOff val="10000"/>
                </a:schemeClr>
              </a:solidFill>
              <a:latin typeface="+mn-lt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8373364" y="2708668"/>
            <a:ext cx="1800200" cy="720080"/>
          </a:xfrm>
          <a:prstGeom prst="rect">
            <a:avLst/>
          </a:prstGeom>
          <a:noFill/>
          <a:ln w="19050" cmpd="sng">
            <a:solidFill>
              <a:schemeClr val="accent3">
                <a:lumMod val="2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0" rtlCol="0" anchor="ctr"/>
          <a:lstStyle/>
          <a:p>
            <a:pPr algn="ctr">
              <a:lnSpc>
                <a:spcPct val="90000"/>
              </a:lnSpc>
              <a:spcBef>
                <a:spcPts val="300"/>
              </a:spcBef>
            </a:pPr>
            <a:r>
              <a:rPr lang="ru-RU" sz="1500" b="0" dirty="0">
                <a:solidFill>
                  <a:schemeClr val="tx1"/>
                </a:solidFill>
                <a:latin typeface="+mn-lt"/>
                <a:cs typeface="Arial" pitchFamily="34" charset="0"/>
              </a:rPr>
              <a:t>Ведомственный контроль</a:t>
            </a:r>
          </a:p>
        </p:txBody>
      </p:sp>
      <p:sp>
        <p:nvSpPr>
          <p:cNvPr id="13" name="Rectangle 12"/>
          <p:cNvSpPr/>
          <p:nvPr/>
        </p:nvSpPr>
        <p:spPr>
          <a:xfrm>
            <a:off x="6420543" y="5445224"/>
            <a:ext cx="1192896" cy="864096"/>
          </a:xfrm>
          <a:prstGeom prst="rect">
            <a:avLst/>
          </a:prstGeom>
          <a:noFill/>
          <a:ln w="19050" cmpd="sng">
            <a:solidFill>
              <a:schemeClr val="accent3">
                <a:lumMod val="2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0" rtlCol="0" anchor="ctr"/>
          <a:lstStyle/>
          <a:p>
            <a:pPr algn="ctr">
              <a:lnSpc>
                <a:spcPct val="90000"/>
              </a:lnSpc>
              <a:spcBef>
                <a:spcPts val="300"/>
              </a:spcBef>
            </a:pPr>
            <a:r>
              <a:rPr lang="ru-RU" sz="1500" b="0" dirty="0">
                <a:solidFill>
                  <a:schemeClr val="tx1"/>
                </a:solidFill>
                <a:latin typeface="+mn-lt"/>
                <a:cs typeface="Arial" pitchFamily="34" charset="0"/>
              </a:rPr>
              <a:t>Рабочая группа</a:t>
            </a:r>
          </a:p>
        </p:txBody>
      </p:sp>
      <p:sp>
        <p:nvSpPr>
          <p:cNvPr id="14" name="Rectangle 13"/>
          <p:cNvSpPr/>
          <p:nvPr/>
        </p:nvSpPr>
        <p:spPr>
          <a:xfrm>
            <a:off x="7780608" y="5445224"/>
            <a:ext cx="1324210" cy="864096"/>
          </a:xfrm>
          <a:prstGeom prst="rect">
            <a:avLst/>
          </a:prstGeom>
          <a:noFill/>
          <a:ln w="19050" cmpd="sng">
            <a:solidFill>
              <a:schemeClr val="accent3">
                <a:lumMod val="2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0" rtlCol="0" anchor="ctr"/>
          <a:lstStyle/>
          <a:p>
            <a:pPr algn="ctr">
              <a:lnSpc>
                <a:spcPct val="90000"/>
              </a:lnSpc>
              <a:spcBef>
                <a:spcPts val="300"/>
              </a:spcBef>
            </a:pPr>
            <a:r>
              <a:rPr lang="ru-RU" sz="1500" b="0" dirty="0">
                <a:solidFill>
                  <a:schemeClr val="tx1"/>
                </a:solidFill>
                <a:cs typeface="Arial" pitchFamily="34" charset="0"/>
              </a:rPr>
              <a:t>Функции </a:t>
            </a:r>
            <a:r>
              <a:rPr lang="ru-RU" sz="1500" b="0" dirty="0" err="1">
                <a:solidFill>
                  <a:schemeClr val="tx1"/>
                </a:solidFill>
                <a:cs typeface="Arial" pitchFamily="34" charset="0"/>
              </a:rPr>
              <a:t>ГРБС</a:t>
            </a:r>
            <a:r>
              <a:rPr lang="ru-RU" sz="1500" b="0" dirty="0">
                <a:solidFill>
                  <a:schemeClr val="tx1"/>
                </a:solidFill>
                <a:cs typeface="Arial" pitchFamily="34" charset="0"/>
              </a:rPr>
              <a:t> в системе </a:t>
            </a:r>
            <a:r>
              <a:rPr lang="ru-RU" sz="1500" b="0" dirty="0" err="1">
                <a:solidFill>
                  <a:schemeClr val="tx1"/>
                </a:solidFill>
                <a:cs typeface="Arial" pitchFamily="34" charset="0"/>
              </a:rPr>
              <a:t>ЕАИСТ</a:t>
            </a:r>
            <a:r>
              <a:rPr lang="ru-RU" sz="1500" b="0" dirty="0">
                <a:solidFill>
                  <a:schemeClr val="tx1"/>
                </a:solidFill>
                <a:cs typeface="Arial" pitchFamily="34" charset="0"/>
              </a:rPr>
              <a:t> 2.0</a:t>
            </a:r>
          </a:p>
        </p:txBody>
      </p:sp>
      <p:sp>
        <p:nvSpPr>
          <p:cNvPr id="15" name="Rectangle 14"/>
          <p:cNvSpPr/>
          <p:nvPr/>
        </p:nvSpPr>
        <p:spPr>
          <a:xfrm>
            <a:off x="9271987" y="5445224"/>
            <a:ext cx="1192896" cy="864096"/>
          </a:xfrm>
          <a:prstGeom prst="rect">
            <a:avLst/>
          </a:prstGeom>
          <a:noFill/>
          <a:ln w="19050" cmpd="sng">
            <a:solidFill>
              <a:schemeClr val="accent3">
                <a:lumMod val="2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0" rtlCol="0" anchor="ctr"/>
          <a:lstStyle/>
          <a:p>
            <a:pPr algn="ctr">
              <a:lnSpc>
                <a:spcPct val="90000"/>
              </a:lnSpc>
              <a:spcBef>
                <a:spcPts val="300"/>
              </a:spcBef>
            </a:pPr>
            <a:r>
              <a:rPr lang="ru-RU" sz="1500" b="0" dirty="0">
                <a:solidFill>
                  <a:schemeClr val="tx1"/>
                </a:solidFill>
                <a:latin typeface="+mn-lt"/>
                <a:cs typeface="Arial" pitchFamily="34" charset="0"/>
              </a:rPr>
              <a:t>Мониторинг</a:t>
            </a:r>
          </a:p>
        </p:txBody>
      </p:sp>
      <p:sp>
        <p:nvSpPr>
          <p:cNvPr id="16" name="Rectangle 15"/>
          <p:cNvSpPr/>
          <p:nvPr/>
        </p:nvSpPr>
        <p:spPr>
          <a:xfrm>
            <a:off x="10657068" y="5445224"/>
            <a:ext cx="1271579" cy="864096"/>
          </a:xfrm>
          <a:prstGeom prst="rect">
            <a:avLst/>
          </a:prstGeom>
          <a:noFill/>
          <a:ln w="19050" cmpd="sng">
            <a:solidFill>
              <a:schemeClr val="accent3">
                <a:lumMod val="2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0" rtlCol="0" anchor="ctr"/>
          <a:lstStyle/>
          <a:p>
            <a:pPr algn="ctr">
              <a:lnSpc>
                <a:spcPct val="90000"/>
              </a:lnSpc>
              <a:spcBef>
                <a:spcPts val="300"/>
              </a:spcBef>
            </a:pPr>
            <a:r>
              <a:rPr lang="ru-RU" sz="1500" b="0" dirty="0">
                <a:solidFill>
                  <a:schemeClr val="tx1"/>
                </a:solidFill>
                <a:latin typeface="+mn-lt"/>
                <a:cs typeface="Arial" pitchFamily="34" charset="0"/>
              </a:rPr>
              <a:t>Выездные контрольные мероприятия мероприятия</a:t>
            </a:r>
          </a:p>
        </p:txBody>
      </p:sp>
      <p:cxnSp>
        <p:nvCxnSpPr>
          <p:cNvPr id="4" name="Straight Arrow Connector 3"/>
          <p:cNvCxnSpPr>
            <a:stCxn id="32" idx="2"/>
            <a:endCxn id="13" idx="0"/>
          </p:cNvCxnSpPr>
          <p:nvPr/>
        </p:nvCxnSpPr>
        <p:spPr>
          <a:xfrm flipH="1">
            <a:off x="7016991" y="4803662"/>
            <a:ext cx="1417086" cy="641562"/>
          </a:xfrm>
          <a:prstGeom prst="straightConnector1">
            <a:avLst/>
          </a:prstGeom>
          <a:ln w="19050">
            <a:solidFill>
              <a:schemeClr val="accent3">
                <a:lumMod val="25000"/>
              </a:schemeClr>
            </a:solidFill>
            <a:tailEnd type="triangl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/>
          <p:cNvCxnSpPr>
            <a:stCxn id="32" idx="2"/>
            <a:endCxn id="14" idx="0"/>
          </p:cNvCxnSpPr>
          <p:nvPr/>
        </p:nvCxnSpPr>
        <p:spPr>
          <a:xfrm>
            <a:off x="8434077" y="4803662"/>
            <a:ext cx="8636" cy="641562"/>
          </a:xfrm>
          <a:prstGeom prst="straightConnector1">
            <a:avLst/>
          </a:prstGeom>
          <a:ln w="19050">
            <a:solidFill>
              <a:schemeClr val="accent3">
                <a:lumMod val="25000"/>
              </a:schemeClr>
            </a:solidFill>
            <a:tailEnd type="triangl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>
            <a:stCxn id="23" idx="2"/>
            <a:endCxn id="15" idx="0"/>
          </p:cNvCxnSpPr>
          <p:nvPr/>
        </p:nvCxnSpPr>
        <p:spPr>
          <a:xfrm flipH="1">
            <a:off x="9868435" y="4868908"/>
            <a:ext cx="579176" cy="576316"/>
          </a:xfrm>
          <a:prstGeom prst="straightConnector1">
            <a:avLst/>
          </a:prstGeom>
          <a:ln w="19050">
            <a:solidFill>
              <a:schemeClr val="accent3">
                <a:lumMod val="25000"/>
              </a:schemeClr>
            </a:solidFill>
            <a:tailEnd type="triangl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>
            <a:stCxn id="23" idx="2"/>
            <a:endCxn id="16" idx="0"/>
          </p:cNvCxnSpPr>
          <p:nvPr/>
        </p:nvCxnSpPr>
        <p:spPr>
          <a:xfrm>
            <a:off x="10447611" y="4868908"/>
            <a:ext cx="845247" cy="576316"/>
          </a:xfrm>
          <a:prstGeom prst="straightConnector1">
            <a:avLst/>
          </a:prstGeom>
          <a:ln w="19050">
            <a:solidFill>
              <a:schemeClr val="accent3">
                <a:lumMod val="25000"/>
              </a:schemeClr>
            </a:solidFill>
            <a:tailEnd type="triangl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 31"/>
          <p:cNvSpPr/>
          <p:nvPr/>
        </p:nvSpPr>
        <p:spPr>
          <a:xfrm>
            <a:off x="7837629" y="4083582"/>
            <a:ext cx="1192896" cy="720080"/>
          </a:xfrm>
          <a:prstGeom prst="rect">
            <a:avLst/>
          </a:prstGeom>
          <a:noFill/>
          <a:ln w="19050" cmpd="sng">
            <a:solidFill>
              <a:schemeClr val="accent3">
                <a:lumMod val="2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0" rtlCol="0" anchor="ctr"/>
          <a:lstStyle/>
          <a:p>
            <a:pPr algn="ctr">
              <a:lnSpc>
                <a:spcPct val="90000"/>
              </a:lnSpc>
              <a:spcBef>
                <a:spcPts val="300"/>
              </a:spcBef>
            </a:pPr>
            <a:r>
              <a:rPr lang="ru-RU" sz="1500" b="0" dirty="0">
                <a:solidFill>
                  <a:schemeClr val="tx1"/>
                </a:solidFill>
                <a:latin typeface="+mn-lt"/>
                <a:cs typeface="Arial" pitchFamily="34" charset="0"/>
              </a:rPr>
              <a:t>ДЗМ</a:t>
            </a:r>
          </a:p>
        </p:txBody>
      </p:sp>
      <p:cxnSp>
        <p:nvCxnSpPr>
          <p:cNvPr id="52" name="Straight Arrow Connector 51"/>
          <p:cNvCxnSpPr>
            <a:stCxn id="2" idx="2"/>
            <a:endCxn id="23" idx="0"/>
          </p:cNvCxnSpPr>
          <p:nvPr/>
        </p:nvCxnSpPr>
        <p:spPr>
          <a:xfrm>
            <a:off x="9273464" y="3428748"/>
            <a:ext cx="1174147" cy="720080"/>
          </a:xfrm>
          <a:prstGeom prst="straightConnector1">
            <a:avLst/>
          </a:prstGeom>
          <a:ln w="19050">
            <a:solidFill>
              <a:schemeClr val="accent3">
                <a:lumMod val="25000"/>
              </a:schemeClr>
            </a:solidFill>
            <a:tailEnd type="triangl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Arrow Connector 53"/>
          <p:cNvCxnSpPr>
            <a:stCxn id="2" idx="2"/>
            <a:endCxn id="32" idx="0"/>
          </p:cNvCxnSpPr>
          <p:nvPr/>
        </p:nvCxnSpPr>
        <p:spPr>
          <a:xfrm flipH="1">
            <a:off x="8434077" y="3428748"/>
            <a:ext cx="839387" cy="654834"/>
          </a:xfrm>
          <a:prstGeom prst="straightConnector1">
            <a:avLst/>
          </a:prstGeom>
          <a:ln w="19050">
            <a:solidFill>
              <a:schemeClr val="accent3">
                <a:lumMod val="25000"/>
              </a:schemeClr>
            </a:solidFill>
            <a:tailEnd type="triangl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angle 22"/>
          <p:cNvSpPr/>
          <p:nvPr/>
        </p:nvSpPr>
        <p:spPr>
          <a:xfrm>
            <a:off x="9851163" y="4148828"/>
            <a:ext cx="1192896" cy="720080"/>
          </a:xfrm>
          <a:prstGeom prst="rect">
            <a:avLst/>
          </a:prstGeom>
          <a:noFill/>
          <a:ln w="19050" cmpd="sng">
            <a:solidFill>
              <a:schemeClr val="accent3">
                <a:lumMod val="2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0" rtlCol="0" anchor="ctr"/>
          <a:lstStyle/>
          <a:p>
            <a:pPr algn="ctr">
              <a:lnSpc>
                <a:spcPct val="90000"/>
              </a:lnSpc>
              <a:spcBef>
                <a:spcPts val="300"/>
              </a:spcBef>
            </a:pPr>
            <a:r>
              <a:rPr lang="ru-RU" sz="1500" b="0" dirty="0">
                <a:solidFill>
                  <a:schemeClr val="tx1"/>
                </a:solidFill>
                <a:latin typeface="+mn-lt"/>
                <a:cs typeface="Arial" pitchFamily="34" charset="0"/>
              </a:rPr>
              <a:t>Служба финансового контроля</a:t>
            </a:r>
          </a:p>
        </p:txBody>
      </p:sp>
    </p:spTree>
    <p:extLst>
      <p:ext uri="{BB962C8B-B14F-4D97-AF65-F5344CB8AC3E}">
        <p14:creationId xmlns:p14="http://schemas.microsoft.com/office/powerpoint/2010/main" val="147065373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b="1" dirty="0"/>
              <a:t>Ведомственный контроль в этапах осуществления закупки</a:t>
            </a:r>
            <a:endParaRPr lang="en-US" b="1" dirty="0"/>
          </a:p>
        </p:txBody>
      </p:sp>
      <p:sp>
        <p:nvSpPr>
          <p:cNvPr id="17" name="Text12"/>
          <p:cNvSpPr>
            <a:spLocks noChangeArrowheads="1"/>
          </p:cNvSpPr>
          <p:nvPr/>
        </p:nvSpPr>
        <p:spPr bwMode="auto">
          <a:xfrm>
            <a:off x="915618" y="3085296"/>
            <a:ext cx="4818401" cy="98488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287703" lvl="1" indent="-285750" defTabSz="406410">
              <a:buFont typeface="Arial" panose="020B0604020202020204" pitchFamily="34" charset="0"/>
              <a:buChar char="•"/>
            </a:pPr>
            <a:r>
              <a:rPr lang="ru-RU" altLang="de-DE" sz="1600" b="0" dirty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</a:rPr>
              <a:t>Рабочая группа</a:t>
            </a:r>
          </a:p>
          <a:p>
            <a:pPr marL="287703" lvl="1" indent="-285750" defTabSz="406410">
              <a:buFont typeface="Arial" panose="020B0604020202020204" pitchFamily="34" charset="0"/>
              <a:buChar char="•"/>
            </a:pPr>
            <a:r>
              <a:rPr lang="ru-RU" altLang="de-DE" sz="1600" b="0" dirty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</a:rPr>
              <a:t>Осуществление функции </a:t>
            </a:r>
            <a:r>
              <a:rPr lang="ru-RU" altLang="de-DE" sz="1600" b="0" dirty="0" err="1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</a:rPr>
              <a:t>ГРБС</a:t>
            </a:r>
            <a:r>
              <a:rPr lang="ru-RU" altLang="de-DE" sz="1600" b="0" dirty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</a:rPr>
              <a:t> в </a:t>
            </a:r>
            <a:r>
              <a:rPr lang="ru-RU" altLang="de-DE" sz="1600" b="0" dirty="0" err="1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</a:rPr>
              <a:t>ЕАИСТ</a:t>
            </a:r>
            <a:endParaRPr lang="ru-RU" altLang="de-DE" sz="1600" b="0" dirty="0">
              <a:solidFill>
                <a:schemeClr val="tx1">
                  <a:lumMod val="90000"/>
                  <a:lumOff val="10000"/>
                </a:schemeClr>
              </a:solidFill>
              <a:latin typeface="+mn-lt"/>
            </a:endParaRPr>
          </a:p>
          <a:p>
            <a:pPr marL="287703" lvl="1" indent="-285750" defTabSz="406410">
              <a:buFont typeface="Arial" panose="020B0604020202020204" pitchFamily="34" charset="0"/>
              <a:buChar char="•"/>
            </a:pPr>
            <a:r>
              <a:rPr lang="ru-RU" altLang="de-DE" sz="1600" b="0" dirty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</a:rPr>
              <a:t>Мониторинг</a:t>
            </a:r>
          </a:p>
          <a:p>
            <a:pPr marL="287703" lvl="1" indent="-285750" defTabSz="406410">
              <a:buFont typeface="Arial" panose="020B0604020202020204" pitchFamily="34" charset="0"/>
              <a:buChar char="•"/>
            </a:pPr>
            <a:r>
              <a:rPr lang="ru-RU" altLang="de-DE" sz="1600" b="0" dirty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</a:rPr>
              <a:t>Контрольные мероприятия</a:t>
            </a:r>
          </a:p>
        </p:txBody>
      </p:sp>
      <p:sp>
        <p:nvSpPr>
          <p:cNvPr id="18" name="Line 5"/>
          <p:cNvSpPr>
            <a:spLocks noChangeShapeType="1"/>
          </p:cNvSpPr>
          <p:nvPr/>
        </p:nvSpPr>
        <p:spPr bwMode="auto">
          <a:xfrm>
            <a:off x="881515" y="2930942"/>
            <a:ext cx="4818401" cy="0"/>
          </a:xfrm>
          <a:prstGeom prst="line">
            <a:avLst/>
          </a:prstGeom>
          <a:noFill/>
          <a:ln w="22225">
            <a:solidFill>
              <a:schemeClr val="bg1">
                <a:lumMod val="65000"/>
              </a:schemeClr>
            </a:solidFill>
            <a:round/>
            <a:headEnd/>
            <a:tailEnd/>
          </a:ln>
        </p:spPr>
        <p:txBody>
          <a:bodyPr lIns="0" tIns="0" rIns="0" bIns="0">
            <a:spAutoFit/>
          </a:bodyPr>
          <a:lstStyle/>
          <a:p>
            <a:endParaRPr lang="ru-RU" sz="1600">
              <a:solidFill>
                <a:schemeClr val="tx1">
                  <a:lumMod val="90000"/>
                  <a:lumOff val="10000"/>
                </a:schemeClr>
              </a:solidFill>
              <a:latin typeface="+mn-lt"/>
            </a:endParaRPr>
          </a:p>
        </p:txBody>
      </p:sp>
      <p:sp>
        <p:nvSpPr>
          <p:cNvPr id="19" name="Text12"/>
          <p:cNvSpPr>
            <a:spLocks noChangeArrowheads="1"/>
          </p:cNvSpPr>
          <p:nvPr/>
        </p:nvSpPr>
        <p:spPr bwMode="auto">
          <a:xfrm>
            <a:off x="899665" y="2496831"/>
            <a:ext cx="4815521" cy="321948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defTabSz="406410"/>
            <a:r>
              <a:rPr lang="ru-RU" altLang="de-DE" sz="2092" dirty="0">
                <a:solidFill>
                  <a:schemeClr val="tx2"/>
                </a:solidFill>
                <a:latin typeface="+mn-lt"/>
              </a:rPr>
              <a:t>Планирование и обоснование закупки</a:t>
            </a:r>
          </a:p>
        </p:txBody>
      </p:sp>
      <p:sp>
        <p:nvSpPr>
          <p:cNvPr id="21" name="Text12"/>
          <p:cNvSpPr>
            <a:spLocks noChangeArrowheads="1"/>
          </p:cNvSpPr>
          <p:nvPr/>
        </p:nvSpPr>
        <p:spPr bwMode="auto">
          <a:xfrm>
            <a:off x="6240612" y="3085296"/>
            <a:ext cx="4818401" cy="98488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287703" lvl="1" indent="-285750" defTabSz="406410">
              <a:buFont typeface="Arial" panose="020B0604020202020204" pitchFamily="34" charset="0"/>
              <a:buChar char="•"/>
            </a:pPr>
            <a:r>
              <a:rPr lang="ru-RU" altLang="de-DE" sz="1600" b="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Назначение сроков </a:t>
            </a:r>
            <a:r>
              <a:rPr lang="ru-RU" altLang="de-DE" sz="1600" b="0" dirty="0" err="1">
                <a:solidFill>
                  <a:schemeClr val="tx1">
                    <a:lumMod val="90000"/>
                    <a:lumOff val="10000"/>
                  </a:schemeClr>
                </a:solidFill>
              </a:rPr>
              <a:t>ГРБС</a:t>
            </a:r>
            <a:r>
              <a:rPr lang="ru-RU" altLang="de-DE" sz="1600" b="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 (дополнительная проверка комплектации документов)</a:t>
            </a:r>
          </a:p>
          <a:p>
            <a:pPr marL="287703" lvl="1" indent="-285750" defTabSz="406410">
              <a:buFont typeface="Arial" panose="020B0604020202020204" pitchFamily="34" charset="0"/>
              <a:buChar char="•"/>
            </a:pPr>
            <a:r>
              <a:rPr lang="ru-RU" altLang="de-DE" sz="1600" b="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Мониторинг</a:t>
            </a:r>
          </a:p>
          <a:p>
            <a:pPr marL="287703" lvl="1" indent="-285750" defTabSz="406410">
              <a:buFont typeface="Arial" panose="020B0604020202020204" pitchFamily="34" charset="0"/>
              <a:buChar char="•"/>
            </a:pPr>
            <a:r>
              <a:rPr lang="ru-RU" altLang="de-DE" sz="1600" b="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Контрольные мероприятия</a:t>
            </a:r>
          </a:p>
        </p:txBody>
      </p:sp>
      <p:sp>
        <p:nvSpPr>
          <p:cNvPr id="22" name="Line 13"/>
          <p:cNvSpPr>
            <a:spLocks noChangeShapeType="1"/>
          </p:cNvSpPr>
          <p:nvPr/>
        </p:nvSpPr>
        <p:spPr bwMode="auto">
          <a:xfrm>
            <a:off x="6240612" y="2930942"/>
            <a:ext cx="4818401" cy="0"/>
          </a:xfrm>
          <a:prstGeom prst="line">
            <a:avLst/>
          </a:prstGeom>
          <a:noFill/>
          <a:ln w="22225">
            <a:solidFill>
              <a:schemeClr val="bg1">
                <a:lumMod val="65000"/>
              </a:schemeClr>
            </a:solidFill>
            <a:round/>
            <a:headEnd/>
            <a:tailEnd/>
          </a:ln>
        </p:spPr>
        <p:txBody>
          <a:bodyPr lIns="0" tIns="0" rIns="0" bIns="0">
            <a:spAutoFit/>
          </a:bodyPr>
          <a:lstStyle/>
          <a:p>
            <a:endParaRPr lang="ru-RU" sz="1600">
              <a:solidFill>
                <a:schemeClr val="tx1">
                  <a:lumMod val="90000"/>
                  <a:lumOff val="10000"/>
                </a:schemeClr>
              </a:solidFill>
              <a:latin typeface="+mn-lt"/>
            </a:endParaRPr>
          </a:p>
        </p:txBody>
      </p:sp>
      <p:sp>
        <p:nvSpPr>
          <p:cNvPr id="23" name="Text12"/>
          <p:cNvSpPr>
            <a:spLocks noChangeArrowheads="1"/>
          </p:cNvSpPr>
          <p:nvPr/>
        </p:nvSpPr>
        <p:spPr bwMode="auto">
          <a:xfrm>
            <a:off x="6224658" y="2496831"/>
            <a:ext cx="4193792" cy="321948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406410"/>
            <a:r>
              <a:rPr lang="ru-RU" altLang="de-DE" sz="2092" dirty="0">
                <a:solidFill>
                  <a:schemeClr val="tx2"/>
                </a:solidFill>
                <a:latin typeface="+mn-lt"/>
              </a:rPr>
              <a:t>Публикация извещения</a:t>
            </a:r>
          </a:p>
        </p:txBody>
      </p:sp>
      <p:sp>
        <p:nvSpPr>
          <p:cNvPr id="36" name="Text12"/>
          <p:cNvSpPr>
            <a:spLocks noChangeArrowheads="1"/>
          </p:cNvSpPr>
          <p:nvPr/>
        </p:nvSpPr>
        <p:spPr bwMode="auto">
          <a:xfrm>
            <a:off x="883067" y="5029811"/>
            <a:ext cx="4818401" cy="1231106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287703" lvl="1" indent="-285750" defTabSz="406410">
              <a:buFont typeface="Arial" panose="020B0604020202020204" pitchFamily="34" charset="0"/>
              <a:buChar char="•"/>
            </a:pPr>
            <a:r>
              <a:rPr lang="ru-RU" altLang="de-DE" sz="1600" b="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В комиссии включен представитель ДЗМ</a:t>
            </a:r>
          </a:p>
          <a:p>
            <a:pPr marL="287703" lvl="1" indent="-285750" defTabSz="406410">
              <a:buFont typeface="Arial" panose="020B0604020202020204" pitchFamily="34" charset="0"/>
              <a:buChar char="•"/>
            </a:pPr>
            <a:r>
              <a:rPr lang="ru-RU" altLang="de-DE" sz="1600" b="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Функции уполномоченного учреждения по торгам второго уровня осуществляет </a:t>
            </a:r>
            <a:r>
              <a:rPr lang="ru-RU" altLang="de-DE" sz="1600" b="0" dirty="0" err="1">
                <a:solidFill>
                  <a:schemeClr val="tx1">
                    <a:lumMod val="90000"/>
                    <a:lumOff val="10000"/>
                  </a:schemeClr>
                </a:solidFill>
              </a:rPr>
              <a:t>АЗКС</a:t>
            </a:r>
            <a:endParaRPr lang="ru-RU" altLang="de-DE" sz="1600" b="0" dirty="0">
              <a:solidFill>
                <a:schemeClr val="tx1">
                  <a:lumMod val="90000"/>
                  <a:lumOff val="10000"/>
                </a:schemeClr>
              </a:solidFill>
            </a:endParaRPr>
          </a:p>
          <a:p>
            <a:pPr marL="287703" lvl="1" indent="-285750" defTabSz="406410">
              <a:buFont typeface="Arial" panose="020B0604020202020204" pitchFamily="34" charset="0"/>
              <a:buChar char="•"/>
            </a:pPr>
            <a:r>
              <a:rPr lang="ru-RU" altLang="de-DE" sz="1600" b="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Контрольные мероприятия</a:t>
            </a:r>
          </a:p>
          <a:p>
            <a:pPr marL="1953" lvl="1" defTabSz="406410"/>
            <a:endParaRPr lang="ru-RU" altLang="de-DE" sz="1600" b="0" dirty="0">
              <a:solidFill>
                <a:schemeClr val="tx1">
                  <a:lumMod val="90000"/>
                  <a:lumOff val="10000"/>
                </a:schemeClr>
              </a:solidFill>
            </a:endParaRPr>
          </a:p>
        </p:txBody>
      </p:sp>
      <p:sp>
        <p:nvSpPr>
          <p:cNvPr id="37" name="Line 5"/>
          <p:cNvSpPr>
            <a:spLocks noChangeShapeType="1"/>
          </p:cNvSpPr>
          <p:nvPr/>
        </p:nvSpPr>
        <p:spPr bwMode="auto">
          <a:xfrm>
            <a:off x="883067" y="4875457"/>
            <a:ext cx="4818401" cy="0"/>
          </a:xfrm>
          <a:prstGeom prst="line">
            <a:avLst/>
          </a:prstGeom>
          <a:noFill/>
          <a:ln w="22225">
            <a:solidFill>
              <a:schemeClr val="bg1">
                <a:lumMod val="65000"/>
              </a:schemeClr>
            </a:solidFill>
            <a:round/>
            <a:headEnd/>
            <a:tailEnd/>
          </a:ln>
        </p:spPr>
        <p:txBody>
          <a:bodyPr lIns="0" tIns="0" rIns="0" bIns="0">
            <a:spAutoFit/>
          </a:bodyPr>
          <a:lstStyle/>
          <a:p>
            <a:endParaRPr lang="ru-RU" sz="1600">
              <a:solidFill>
                <a:schemeClr val="tx1">
                  <a:lumMod val="90000"/>
                  <a:lumOff val="10000"/>
                </a:schemeClr>
              </a:solidFill>
              <a:latin typeface="+mn-lt"/>
            </a:endParaRPr>
          </a:p>
        </p:txBody>
      </p:sp>
      <p:sp>
        <p:nvSpPr>
          <p:cNvPr id="38" name="Text12"/>
          <p:cNvSpPr>
            <a:spLocks noChangeArrowheads="1"/>
          </p:cNvSpPr>
          <p:nvPr/>
        </p:nvSpPr>
        <p:spPr bwMode="auto">
          <a:xfrm>
            <a:off x="867112" y="4441346"/>
            <a:ext cx="4815521" cy="321948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defTabSz="406410"/>
            <a:r>
              <a:rPr lang="ru-RU" altLang="de-DE" sz="2092" dirty="0">
                <a:solidFill>
                  <a:schemeClr val="tx2"/>
                </a:solidFill>
                <a:latin typeface="+mn-lt"/>
              </a:rPr>
              <a:t>Определение поставщика</a:t>
            </a:r>
          </a:p>
        </p:txBody>
      </p:sp>
      <p:sp>
        <p:nvSpPr>
          <p:cNvPr id="39" name="Text12"/>
          <p:cNvSpPr>
            <a:spLocks noChangeArrowheads="1"/>
          </p:cNvSpPr>
          <p:nvPr/>
        </p:nvSpPr>
        <p:spPr bwMode="auto">
          <a:xfrm>
            <a:off x="6208061" y="5029811"/>
            <a:ext cx="4818401" cy="49244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1953" lvl="1" defTabSz="406410"/>
            <a:r>
              <a:rPr lang="ru-RU" altLang="de-DE" sz="1600" b="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Мониторинг</a:t>
            </a:r>
          </a:p>
          <a:p>
            <a:pPr marL="1953" lvl="1" defTabSz="406410"/>
            <a:r>
              <a:rPr lang="ru-RU" altLang="de-DE" sz="1600" b="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Контрольные мероприятия</a:t>
            </a:r>
          </a:p>
        </p:txBody>
      </p:sp>
      <p:sp>
        <p:nvSpPr>
          <p:cNvPr id="40" name="Line 13"/>
          <p:cNvSpPr>
            <a:spLocks noChangeShapeType="1"/>
          </p:cNvSpPr>
          <p:nvPr/>
        </p:nvSpPr>
        <p:spPr bwMode="auto">
          <a:xfrm>
            <a:off x="6208061" y="4875457"/>
            <a:ext cx="4818401" cy="0"/>
          </a:xfrm>
          <a:prstGeom prst="line">
            <a:avLst/>
          </a:prstGeom>
          <a:noFill/>
          <a:ln w="22225">
            <a:solidFill>
              <a:schemeClr val="bg1">
                <a:lumMod val="65000"/>
              </a:schemeClr>
            </a:solidFill>
            <a:round/>
            <a:headEnd/>
            <a:tailEnd/>
          </a:ln>
        </p:spPr>
        <p:txBody>
          <a:bodyPr lIns="0" tIns="0" rIns="0" bIns="0">
            <a:spAutoFit/>
          </a:bodyPr>
          <a:lstStyle/>
          <a:p>
            <a:endParaRPr lang="ru-RU" sz="1600">
              <a:solidFill>
                <a:schemeClr val="tx1">
                  <a:lumMod val="90000"/>
                  <a:lumOff val="10000"/>
                </a:schemeClr>
              </a:solidFill>
              <a:latin typeface="+mn-lt"/>
            </a:endParaRPr>
          </a:p>
        </p:txBody>
      </p:sp>
      <p:sp>
        <p:nvSpPr>
          <p:cNvPr id="41" name="Text12"/>
          <p:cNvSpPr>
            <a:spLocks noChangeArrowheads="1"/>
          </p:cNvSpPr>
          <p:nvPr/>
        </p:nvSpPr>
        <p:spPr bwMode="auto">
          <a:xfrm>
            <a:off x="6192107" y="4441346"/>
            <a:ext cx="4193792" cy="321948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406410"/>
            <a:r>
              <a:rPr lang="ru-RU" altLang="de-DE" sz="2092" dirty="0">
                <a:solidFill>
                  <a:schemeClr val="tx2"/>
                </a:solidFill>
                <a:latin typeface="+mn-lt"/>
              </a:rPr>
              <a:t>Заключение и исполнение контракта</a:t>
            </a:r>
          </a:p>
        </p:txBody>
      </p:sp>
    </p:spTree>
    <p:extLst>
      <p:ext uri="{BB962C8B-B14F-4D97-AF65-F5344CB8AC3E}">
        <p14:creationId xmlns:p14="http://schemas.microsoft.com/office/powerpoint/2010/main" val="350330854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собенности рассмотрения заявок МО рабочей группой ДЗМ по проверке обоснованности закупок</a:t>
            </a:r>
          </a:p>
        </p:txBody>
      </p:sp>
      <p:sp>
        <p:nvSpPr>
          <p:cNvPr id="10" name="Rectangle 9"/>
          <p:cNvSpPr>
            <a:spLocks noChangeArrowheads="1"/>
          </p:cNvSpPr>
          <p:nvPr/>
        </p:nvSpPr>
        <p:spPr bwMode="gray">
          <a:xfrm>
            <a:off x="191344" y="2884905"/>
            <a:ext cx="5760640" cy="2896217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rgbClr val="2C4156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wrap="none" lIns="91139" tIns="45570" rIns="91139" bIns="45570" anchor="ctr">
            <a:noAutofit/>
          </a:bodyPr>
          <a:lstStyle/>
          <a:p>
            <a:endParaRPr lang="en-GB" sz="100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1" name="Rectangle 13"/>
          <p:cNvSpPr>
            <a:spLocks noChangeArrowheads="1"/>
          </p:cNvSpPr>
          <p:nvPr/>
        </p:nvSpPr>
        <p:spPr bwMode="gray">
          <a:xfrm>
            <a:off x="191344" y="2802607"/>
            <a:ext cx="5760640" cy="53605"/>
          </a:xfrm>
          <a:prstGeom prst="rect">
            <a:avLst/>
          </a:prstGeom>
          <a:solidFill>
            <a:srgbClr val="2C4156"/>
          </a:solidFill>
          <a:ln>
            <a:solidFill>
              <a:srgbClr val="2C4156"/>
            </a:solidFill>
          </a:ln>
          <a:effectLst/>
          <a:extLst/>
        </p:spPr>
        <p:txBody>
          <a:bodyPr wrap="none" lIns="91139" tIns="45570" rIns="91139" bIns="45570" anchor="ctr">
            <a:noAutofit/>
          </a:bodyPr>
          <a:lstStyle>
            <a:lvl1pPr>
              <a:defRPr sz="2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endParaRPr lang="en-GB" sz="1000">
              <a:solidFill>
                <a:srgbClr val="00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12" name="Rectangle 12"/>
          <p:cNvSpPr>
            <a:spLocks noChangeArrowheads="1"/>
          </p:cNvSpPr>
          <p:nvPr/>
        </p:nvSpPr>
        <p:spPr bwMode="gray">
          <a:xfrm>
            <a:off x="191344" y="2884906"/>
            <a:ext cx="5760640" cy="360835"/>
          </a:xfrm>
          <a:prstGeom prst="rect">
            <a:avLst/>
          </a:prstGeom>
          <a:solidFill>
            <a:srgbClr val="2C4156"/>
          </a:solidFill>
          <a:ln w="19050">
            <a:solidFill>
              <a:srgbClr val="2C4156"/>
            </a:solidFill>
            <a:miter lim="800000"/>
            <a:headEnd/>
            <a:tailEnd/>
          </a:ln>
          <a:effectLst/>
          <a:extLst/>
        </p:spPr>
        <p:txBody>
          <a:bodyPr wrap="none" lIns="91139" tIns="45570" rIns="91139" bIns="45570" anchor="ctr">
            <a:noAutofit/>
          </a:bodyPr>
          <a:lstStyle/>
          <a:p>
            <a:endParaRPr lang="en-GB" sz="1000">
              <a:solidFill>
                <a:schemeClr val="tx2"/>
              </a:solidFill>
              <a:latin typeface="+mn-lt"/>
              <a:cs typeface="Arial" pitchFamily="34" charset="0"/>
            </a:endParaRPr>
          </a:p>
        </p:txBody>
      </p:sp>
      <p:sp>
        <p:nvSpPr>
          <p:cNvPr id="13" name="Rectangle 16"/>
          <p:cNvSpPr>
            <a:spLocks noChangeArrowheads="1"/>
          </p:cNvSpPr>
          <p:nvPr/>
        </p:nvSpPr>
        <p:spPr bwMode="gray">
          <a:xfrm>
            <a:off x="286029" y="2969962"/>
            <a:ext cx="5373058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895350">
              <a:defRPr sz="2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895350"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895350">
              <a:defRPr sz="2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895350">
              <a:defRPr sz="2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r>
              <a:rPr lang="ru-RU" sz="1600" dirty="0">
                <a:solidFill>
                  <a:schemeClr val="bg1"/>
                </a:solidFill>
                <a:cs typeface="Arial" panose="020B0604020202020204" pitchFamily="34" charset="0"/>
              </a:rPr>
              <a:t>От 0 до 100 млн.</a:t>
            </a:r>
            <a:endParaRPr lang="ru-RU" sz="1600" b="1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286029" y="3270463"/>
            <a:ext cx="5514868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0" dirty="0"/>
              <a:t>Заявки на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600" b="0" dirty="0"/>
              <a:t>Выполнение ремонтных работ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600" b="0" dirty="0"/>
              <a:t>Техническое и метрологическое обслуживание медицинского оборудования</a:t>
            </a:r>
          </a:p>
          <a:p>
            <a:endParaRPr lang="ru-RU" sz="1600" b="0" dirty="0"/>
          </a:p>
          <a:p>
            <a:r>
              <a:rPr lang="ru-RU" sz="1600" b="0" dirty="0"/>
              <a:t>Закупка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600" b="0" dirty="0"/>
              <a:t>Оборудования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600" b="0" dirty="0"/>
              <a:t>Медицинских изделий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600" b="0" dirty="0"/>
              <a:t>Мебели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600" b="0" dirty="0"/>
              <a:t>Мягкого инвентаря</a:t>
            </a:r>
          </a:p>
        </p:txBody>
      </p:sp>
      <p:sp>
        <p:nvSpPr>
          <p:cNvPr id="15" name="Rectangle 7"/>
          <p:cNvSpPr>
            <a:spLocks noChangeArrowheads="1"/>
          </p:cNvSpPr>
          <p:nvPr/>
        </p:nvSpPr>
        <p:spPr bwMode="gray">
          <a:xfrm>
            <a:off x="6394897" y="2884906"/>
            <a:ext cx="5533751" cy="2896216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accent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wrap="none" lIns="91139" tIns="45570" rIns="91139" bIns="45570" anchor="ctr">
            <a:noAutofit/>
          </a:bodyPr>
          <a:lstStyle/>
          <a:p>
            <a:endParaRPr lang="en-GB" sz="100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6" name="Freeform 14"/>
          <p:cNvSpPr>
            <a:spLocks/>
          </p:cNvSpPr>
          <p:nvPr/>
        </p:nvSpPr>
        <p:spPr bwMode="gray">
          <a:xfrm>
            <a:off x="6381772" y="2681793"/>
            <a:ext cx="5533751" cy="174419"/>
          </a:xfrm>
          <a:custGeom>
            <a:avLst/>
            <a:gdLst>
              <a:gd name="T0" fmla="*/ 0 w 1824"/>
              <a:gd name="T1" fmla="*/ 95250 h 90"/>
              <a:gd name="T2" fmla="*/ 0 w 1824"/>
              <a:gd name="T3" fmla="*/ 142875 h 90"/>
              <a:gd name="T4" fmla="*/ 2895600 w 1824"/>
              <a:gd name="T5" fmla="*/ 142875 h 90"/>
              <a:gd name="T6" fmla="*/ 2574925 w 1824"/>
              <a:gd name="T7" fmla="*/ 0 h 90"/>
              <a:gd name="T8" fmla="*/ 2625725 w 1824"/>
              <a:gd name="T9" fmla="*/ 95250 h 90"/>
              <a:gd name="T10" fmla="*/ 0 w 1824"/>
              <a:gd name="T11" fmla="*/ 95250 h 9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1824" h="90">
                <a:moveTo>
                  <a:pt x="0" y="60"/>
                </a:moveTo>
                <a:lnTo>
                  <a:pt x="0" y="90"/>
                </a:lnTo>
                <a:lnTo>
                  <a:pt x="1824" y="90"/>
                </a:lnTo>
                <a:lnTo>
                  <a:pt x="1622" y="0"/>
                </a:lnTo>
                <a:lnTo>
                  <a:pt x="1654" y="60"/>
                </a:lnTo>
                <a:lnTo>
                  <a:pt x="0" y="60"/>
                </a:lnTo>
                <a:close/>
              </a:path>
            </a:pathLst>
          </a:custGeom>
          <a:gradFill rotWithShape="1">
            <a:gsLst>
              <a:gs pos="0">
                <a:schemeClr val="accent1"/>
              </a:gs>
              <a:gs pos="100000">
                <a:schemeClr val="accent2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139" tIns="45570" rIns="91139" bIns="45570">
            <a:noAutofit/>
          </a:bodyPr>
          <a:lstStyle/>
          <a:p>
            <a:endParaRPr lang="en-US" sz="1000">
              <a:solidFill>
                <a:srgbClr val="00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17" name="Rectangle 10"/>
          <p:cNvSpPr>
            <a:spLocks noChangeArrowheads="1"/>
          </p:cNvSpPr>
          <p:nvPr/>
        </p:nvSpPr>
        <p:spPr bwMode="gray">
          <a:xfrm>
            <a:off x="6394897" y="2884906"/>
            <a:ext cx="5533751" cy="365265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accent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139" tIns="45570" rIns="91139" bIns="45570" anchor="ctr">
            <a:noAutofit/>
          </a:bodyPr>
          <a:lstStyle>
            <a:lvl1pPr>
              <a:defRPr sz="2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endParaRPr lang="en-GB" sz="1000" b="1">
              <a:solidFill>
                <a:schemeClr val="tx2"/>
              </a:solidFill>
              <a:latin typeface="+mn-lt"/>
              <a:cs typeface="Arial" pitchFamily="34" charset="0"/>
            </a:endParaRPr>
          </a:p>
        </p:txBody>
      </p:sp>
      <p:sp>
        <p:nvSpPr>
          <p:cNvPr id="18" name="Rectangle 18"/>
          <p:cNvSpPr>
            <a:spLocks noChangeArrowheads="1"/>
          </p:cNvSpPr>
          <p:nvPr/>
        </p:nvSpPr>
        <p:spPr bwMode="gray">
          <a:xfrm>
            <a:off x="6476457" y="2969962"/>
            <a:ext cx="521305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895350">
              <a:defRPr sz="2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895350"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895350">
              <a:defRPr sz="2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895350">
              <a:defRPr sz="2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r>
              <a:rPr lang="ru-RU" sz="1600" b="1" dirty="0">
                <a:solidFill>
                  <a:schemeClr val="bg1"/>
                </a:solidFill>
                <a:cs typeface="Arial" panose="020B0604020202020204" pitchFamily="34" charset="0"/>
              </a:rPr>
              <a:t>От 500 тыс. до 100 млн.</a:t>
            </a:r>
          </a:p>
        </p:txBody>
      </p:sp>
      <p:sp>
        <p:nvSpPr>
          <p:cNvPr id="19" name="Rectangle 18"/>
          <p:cNvSpPr/>
          <p:nvPr/>
        </p:nvSpPr>
        <p:spPr>
          <a:xfrm>
            <a:off x="6476457" y="3270463"/>
            <a:ext cx="5213051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600" b="0" dirty="0"/>
              <a:t>Потребности в товарах, работах, услугах с </a:t>
            </a:r>
            <a:r>
              <a:rPr lang="ru-RU" sz="1600" b="0" dirty="0" err="1"/>
              <a:t>НМЦК</a:t>
            </a:r>
            <a:r>
              <a:rPr lang="ru-RU" sz="1600" b="0" dirty="0"/>
              <a:t> от 500 тыс. до 100 млн. руб.</a:t>
            </a:r>
          </a:p>
        </p:txBody>
      </p:sp>
      <p:sp>
        <p:nvSpPr>
          <p:cNvPr id="20" name="Rectangle 19"/>
          <p:cNvSpPr/>
          <p:nvPr/>
        </p:nvSpPr>
        <p:spPr>
          <a:xfrm>
            <a:off x="3791744" y="1916832"/>
            <a:ext cx="5112568" cy="525964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accent3">
                <a:lumMod val="2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0" rtlCol="0" anchor="ctr"/>
          <a:lstStyle/>
          <a:p>
            <a:pPr algn="ctr">
              <a:lnSpc>
                <a:spcPct val="90000"/>
              </a:lnSpc>
              <a:spcBef>
                <a:spcPts val="300"/>
              </a:spcBef>
            </a:pPr>
            <a:r>
              <a:rPr lang="ru-RU" sz="1600" dirty="0">
                <a:solidFill>
                  <a:schemeClr val="tx1"/>
                </a:solidFill>
                <a:cs typeface="Arial" pitchFamily="34" charset="0"/>
              </a:rPr>
              <a:t>Закупки с обязательным прохождением рабочей группы</a:t>
            </a:r>
          </a:p>
          <a:p>
            <a:pPr algn="ctr">
              <a:lnSpc>
                <a:spcPct val="90000"/>
              </a:lnSpc>
              <a:spcBef>
                <a:spcPts val="300"/>
              </a:spcBef>
            </a:pPr>
            <a:r>
              <a:rPr lang="ru-RU" sz="1600" dirty="0">
                <a:solidFill>
                  <a:schemeClr val="tx1"/>
                </a:solidFill>
                <a:cs typeface="Arial" pitchFamily="34" charset="0"/>
              </a:rPr>
              <a:t>44-ФЗ и 223-ФЗ</a:t>
            </a:r>
          </a:p>
        </p:txBody>
      </p:sp>
      <p:cxnSp>
        <p:nvCxnSpPr>
          <p:cNvPr id="22" name="Straight Arrow Connector 21"/>
          <p:cNvCxnSpPr>
            <a:stCxn id="20" idx="2"/>
          </p:cNvCxnSpPr>
          <p:nvPr/>
        </p:nvCxnSpPr>
        <p:spPr>
          <a:xfrm flipH="1">
            <a:off x="4583834" y="2442796"/>
            <a:ext cx="1764194" cy="326206"/>
          </a:xfrm>
          <a:prstGeom prst="straightConnector1">
            <a:avLst/>
          </a:prstGeom>
          <a:ln w="19050">
            <a:solidFill>
              <a:schemeClr val="accent3">
                <a:lumMod val="25000"/>
              </a:schemeClr>
            </a:solidFill>
            <a:tailEnd type="triangl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/>
          <p:cNvCxnSpPr>
            <a:stCxn id="20" idx="2"/>
          </p:cNvCxnSpPr>
          <p:nvPr/>
        </p:nvCxnSpPr>
        <p:spPr>
          <a:xfrm>
            <a:off x="6348028" y="2442796"/>
            <a:ext cx="1692188" cy="326206"/>
          </a:xfrm>
          <a:prstGeom prst="straightConnector1">
            <a:avLst/>
          </a:prstGeom>
          <a:ln w="19050">
            <a:solidFill>
              <a:schemeClr val="accent3">
                <a:lumMod val="25000"/>
              </a:schemeClr>
            </a:solidFill>
            <a:tailEnd type="triangl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/>
        </p:nvSpPr>
        <p:spPr>
          <a:xfrm>
            <a:off x="169311" y="5924752"/>
            <a:ext cx="11737304" cy="747897"/>
          </a:xfrm>
          <a:prstGeom prst="rect">
            <a:avLst/>
          </a:prstGeom>
          <a:solidFill>
            <a:srgbClr val="FFDB69"/>
          </a:solidFill>
          <a:ln w="9525">
            <a:noFill/>
          </a:ln>
        </p:spPr>
        <p:txBody>
          <a:bodyPr wrap="square" lIns="72000" tIns="0" rIns="72000" bIns="0" rtlCol="0">
            <a:spAutoFit/>
          </a:bodyPr>
          <a:lstStyle>
            <a:defPPr>
              <a:defRPr lang="de-DE"/>
            </a:defPPr>
            <a:lvl1pPr>
              <a:lnSpc>
                <a:spcPct val="90000"/>
              </a:lnSpc>
              <a:spcBef>
                <a:spcPts val="0"/>
              </a:spcBef>
              <a:defRPr sz="1800" b="0">
                <a:latin typeface="+mn-lt"/>
                <a:cs typeface="Arial" pitchFamily="34" charset="0"/>
              </a:defRPr>
            </a:lvl1pPr>
          </a:lstStyle>
          <a:p>
            <a:r>
              <a:rPr lang="ru-RU" b="1" dirty="0"/>
              <a:t>В 2015 году</a:t>
            </a:r>
            <a:r>
              <a:rPr lang="ru-RU" dirty="0"/>
              <a:t> Рабочей группой Департамента здравоохранения города Москвы по проверке обоснованности закупок было проведено </a:t>
            </a:r>
            <a:r>
              <a:rPr lang="ru-RU" b="1" dirty="0"/>
              <a:t>46 заседаний</a:t>
            </a:r>
            <a:r>
              <a:rPr lang="ru-RU" dirty="0"/>
              <a:t>, в ходе которых было рассмотрено </a:t>
            </a:r>
            <a:r>
              <a:rPr lang="ru-RU" b="1" dirty="0"/>
              <a:t>19 423 заявки</a:t>
            </a:r>
            <a:r>
              <a:rPr lang="ru-RU" dirty="0"/>
              <a:t> на осуществление государственного заказа на общую сумму </a:t>
            </a:r>
            <a:r>
              <a:rPr lang="ru-RU" b="1" dirty="0"/>
              <a:t>70 360 885 137,82 рублей</a:t>
            </a:r>
            <a:r>
              <a:rPr lang="ru-RU" dirty="0"/>
              <a:t>, экономия по итогам данных заседаний составила </a:t>
            </a:r>
            <a:r>
              <a:rPr lang="ru-RU" b="1" dirty="0"/>
              <a:t>5 114 783 878 рублей</a:t>
            </a:r>
            <a:r>
              <a:rPr lang="ru-RU" dirty="0"/>
              <a:t>, что составляет </a:t>
            </a:r>
            <a:r>
              <a:rPr lang="ru-RU" b="1" dirty="0"/>
              <a:t>7,27%.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1877719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существление мониторинга процедур средствами </a:t>
            </a:r>
            <a:r>
              <a:rPr lang="ru-RU" dirty="0" err="1"/>
              <a:t>ЕИС</a:t>
            </a:r>
            <a:endParaRPr lang="ru-RU" dirty="0"/>
          </a:p>
        </p:txBody>
      </p:sp>
      <p:sp>
        <p:nvSpPr>
          <p:cNvPr id="10" name="Rectangle 9"/>
          <p:cNvSpPr>
            <a:spLocks noChangeArrowheads="1"/>
          </p:cNvSpPr>
          <p:nvPr/>
        </p:nvSpPr>
        <p:spPr bwMode="gray">
          <a:xfrm>
            <a:off x="551384" y="3462982"/>
            <a:ext cx="3168352" cy="1443424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rgbClr val="2C4156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wrap="none" lIns="91139" tIns="45570" rIns="91139" bIns="45570" anchor="ctr">
            <a:noAutofit/>
          </a:bodyPr>
          <a:lstStyle/>
          <a:p>
            <a:endParaRPr lang="en-GB" sz="100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1" name="Rectangle 13"/>
          <p:cNvSpPr>
            <a:spLocks noChangeArrowheads="1"/>
          </p:cNvSpPr>
          <p:nvPr/>
        </p:nvSpPr>
        <p:spPr bwMode="gray">
          <a:xfrm>
            <a:off x="551384" y="3380683"/>
            <a:ext cx="3168352" cy="53605"/>
          </a:xfrm>
          <a:prstGeom prst="rect">
            <a:avLst/>
          </a:prstGeom>
          <a:solidFill>
            <a:srgbClr val="2C4156"/>
          </a:solidFill>
          <a:ln>
            <a:solidFill>
              <a:srgbClr val="2C4156"/>
            </a:solidFill>
          </a:ln>
          <a:effectLst/>
          <a:extLst/>
        </p:spPr>
        <p:txBody>
          <a:bodyPr wrap="none" lIns="91139" tIns="45570" rIns="91139" bIns="45570" anchor="ctr">
            <a:noAutofit/>
          </a:bodyPr>
          <a:lstStyle>
            <a:lvl1pPr>
              <a:defRPr sz="2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endParaRPr lang="en-GB" sz="1000">
              <a:solidFill>
                <a:srgbClr val="00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12" name="Rectangle 12"/>
          <p:cNvSpPr>
            <a:spLocks noChangeArrowheads="1"/>
          </p:cNvSpPr>
          <p:nvPr/>
        </p:nvSpPr>
        <p:spPr bwMode="gray">
          <a:xfrm>
            <a:off x="551384" y="3462982"/>
            <a:ext cx="3168352" cy="360835"/>
          </a:xfrm>
          <a:prstGeom prst="rect">
            <a:avLst/>
          </a:prstGeom>
          <a:solidFill>
            <a:srgbClr val="2C4156"/>
          </a:solidFill>
          <a:ln w="19050">
            <a:solidFill>
              <a:srgbClr val="2C4156"/>
            </a:solidFill>
            <a:miter lim="800000"/>
            <a:headEnd/>
            <a:tailEnd/>
          </a:ln>
          <a:effectLst/>
          <a:extLst/>
        </p:spPr>
        <p:txBody>
          <a:bodyPr wrap="none" lIns="91139" tIns="45570" rIns="91139" bIns="45570" anchor="ctr">
            <a:noAutofit/>
          </a:bodyPr>
          <a:lstStyle/>
          <a:p>
            <a:endParaRPr lang="en-GB" sz="1000">
              <a:solidFill>
                <a:schemeClr val="tx2"/>
              </a:solidFill>
              <a:latin typeface="+mn-lt"/>
              <a:cs typeface="Arial" pitchFamily="34" charset="0"/>
            </a:endParaRPr>
          </a:p>
        </p:txBody>
      </p:sp>
      <p:sp>
        <p:nvSpPr>
          <p:cNvPr id="13" name="Rectangle 16"/>
          <p:cNvSpPr>
            <a:spLocks noChangeArrowheads="1"/>
          </p:cNvSpPr>
          <p:nvPr/>
        </p:nvSpPr>
        <p:spPr bwMode="gray">
          <a:xfrm>
            <a:off x="646069" y="3548038"/>
            <a:ext cx="295518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895350">
              <a:defRPr sz="2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895350"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895350">
              <a:defRPr sz="2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895350">
              <a:defRPr sz="2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r>
              <a:rPr lang="ru-RU" sz="1400" b="1" dirty="0">
                <a:solidFill>
                  <a:schemeClr val="bg1"/>
                </a:solidFill>
                <a:cs typeface="Arial" panose="020B0604020202020204" pitchFamily="34" charset="0"/>
              </a:rPr>
              <a:t>Этап подачи заявок</a:t>
            </a:r>
          </a:p>
        </p:txBody>
      </p:sp>
      <p:sp>
        <p:nvSpPr>
          <p:cNvPr id="14" name="Rectangle 13"/>
          <p:cNvSpPr/>
          <p:nvPr/>
        </p:nvSpPr>
        <p:spPr>
          <a:xfrm>
            <a:off x="646069" y="3848539"/>
            <a:ext cx="3033177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0" dirty="0">
                <a:latin typeface="+mj-lt"/>
              </a:rPr>
              <a:t>Анализ закупки на этапе подачи заявок с возможностью внесения изменения</a:t>
            </a:r>
          </a:p>
        </p:txBody>
      </p:sp>
      <p:sp>
        <p:nvSpPr>
          <p:cNvPr id="20" name="Rectangle 19"/>
          <p:cNvSpPr/>
          <p:nvPr/>
        </p:nvSpPr>
        <p:spPr>
          <a:xfrm>
            <a:off x="4162649" y="1966932"/>
            <a:ext cx="4464496" cy="453956"/>
          </a:xfrm>
          <a:prstGeom prst="rect">
            <a:avLst/>
          </a:prstGeom>
          <a:solidFill>
            <a:schemeClr val="bg1"/>
          </a:solidFill>
          <a:ln w="19050" cmpd="sng">
            <a:solidFill>
              <a:srgbClr val="2C4156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0" rtlCol="0" anchor="ctr"/>
          <a:lstStyle/>
          <a:p>
            <a:pPr algn="ctr">
              <a:lnSpc>
                <a:spcPct val="90000"/>
              </a:lnSpc>
              <a:spcBef>
                <a:spcPts val="300"/>
              </a:spcBef>
            </a:pPr>
            <a:r>
              <a:rPr lang="ru-RU" sz="1600" dirty="0">
                <a:solidFill>
                  <a:schemeClr val="tx1"/>
                </a:solidFill>
                <a:latin typeface="+mn-lt"/>
                <a:cs typeface="Arial" pitchFamily="34" charset="0"/>
              </a:rPr>
              <a:t>Мониторинг</a:t>
            </a:r>
          </a:p>
        </p:txBody>
      </p:sp>
      <p:cxnSp>
        <p:nvCxnSpPr>
          <p:cNvPr id="22" name="Straight Arrow Connector 21"/>
          <p:cNvCxnSpPr/>
          <p:nvPr/>
        </p:nvCxnSpPr>
        <p:spPr>
          <a:xfrm flipH="1">
            <a:off x="3431705" y="2414801"/>
            <a:ext cx="2963192" cy="937887"/>
          </a:xfrm>
          <a:prstGeom prst="straightConnector1">
            <a:avLst/>
          </a:prstGeom>
          <a:ln w="19050">
            <a:solidFill>
              <a:srgbClr val="2C4156"/>
            </a:solidFill>
            <a:tailEnd type="triangl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/>
          <p:cNvCxnSpPr/>
          <p:nvPr/>
        </p:nvCxnSpPr>
        <p:spPr>
          <a:xfrm>
            <a:off x="6394897" y="2414801"/>
            <a:ext cx="2581423" cy="949733"/>
          </a:xfrm>
          <a:prstGeom prst="straightConnector1">
            <a:avLst/>
          </a:prstGeom>
          <a:ln w="19050">
            <a:solidFill>
              <a:srgbClr val="2C4156"/>
            </a:solidFill>
            <a:tailEnd type="triangl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>
            <a:spLocks noChangeArrowheads="1"/>
          </p:cNvSpPr>
          <p:nvPr/>
        </p:nvSpPr>
        <p:spPr bwMode="gray">
          <a:xfrm>
            <a:off x="4439816" y="3474828"/>
            <a:ext cx="3168352" cy="1443424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rgbClr val="2C4156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wrap="none" lIns="91139" tIns="45570" rIns="91139" bIns="45570" anchor="ctr">
            <a:noAutofit/>
          </a:bodyPr>
          <a:lstStyle/>
          <a:p>
            <a:endParaRPr lang="en-GB" sz="100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3" name="Rectangle 13"/>
          <p:cNvSpPr>
            <a:spLocks noChangeArrowheads="1"/>
          </p:cNvSpPr>
          <p:nvPr/>
        </p:nvSpPr>
        <p:spPr bwMode="gray">
          <a:xfrm>
            <a:off x="4439816" y="3392529"/>
            <a:ext cx="3168352" cy="53605"/>
          </a:xfrm>
          <a:prstGeom prst="rect">
            <a:avLst/>
          </a:prstGeom>
          <a:solidFill>
            <a:srgbClr val="2C4156"/>
          </a:solidFill>
          <a:ln>
            <a:solidFill>
              <a:srgbClr val="2C4156"/>
            </a:solidFill>
          </a:ln>
          <a:effectLst/>
          <a:extLst/>
        </p:spPr>
        <p:txBody>
          <a:bodyPr wrap="none" lIns="91139" tIns="45570" rIns="91139" bIns="45570" anchor="ctr">
            <a:noAutofit/>
          </a:bodyPr>
          <a:lstStyle>
            <a:lvl1pPr>
              <a:defRPr sz="2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endParaRPr lang="en-GB" sz="1000">
              <a:solidFill>
                <a:srgbClr val="00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25" name="Rectangle 12"/>
          <p:cNvSpPr>
            <a:spLocks noChangeArrowheads="1"/>
          </p:cNvSpPr>
          <p:nvPr/>
        </p:nvSpPr>
        <p:spPr bwMode="gray">
          <a:xfrm>
            <a:off x="4439816" y="3474828"/>
            <a:ext cx="3168352" cy="360835"/>
          </a:xfrm>
          <a:prstGeom prst="rect">
            <a:avLst/>
          </a:prstGeom>
          <a:solidFill>
            <a:srgbClr val="2C4156"/>
          </a:solidFill>
          <a:ln w="19050">
            <a:solidFill>
              <a:srgbClr val="2C4156"/>
            </a:solidFill>
            <a:miter lim="800000"/>
            <a:headEnd/>
            <a:tailEnd/>
          </a:ln>
          <a:effectLst/>
          <a:extLst/>
        </p:spPr>
        <p:txBody>
          <a:bodyPr wrap="none" lIns="91139" tIns="45570" rIns="91139" bIns="45570" anchor="ctr">
            <a:noAutofit/>
          </a:bodyPr>
          <a:lstStyle/>
          <a:p>
            <a:endParaRPr lang="en-GB" sz="1000">
              <a:solidFill>
                <a:schemeClr val="tx2"/>
              </a:solidFill>
              <a:latin typeface="+mn-lt"/>
              <a:cs typeface="Arial" pitchFamily="34" charset="0"/>
            </a:endParaRPr>
          </a:p>
        </p:txBody>
      </p:sp>
      <p:sp>
        <p:nvSpPr>
          <p:cNvPr id="26" name="Rectangle 16"/>
          <p:cNvSpPr>
            <a:spLocks noChangeArrowheads="1"/>
          </p:cNvSpPr>
          <p:nvPr/>
        </p:nvSpPr>
        <p:spPr bwMode="gray">
          <a:xfrm>
            <a:off x="4534501" y="3559884"/>
            <a:ext cx="295518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895350">
              <a:defRPr sz="2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895350"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895350">
              <a:defRPr sz="2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895350">
              <a:defRPr sz="2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r>
              <a:rPr lang="ru-RU" sz="1400" dirty="0">
                <a:solidFill>
                  <a:schemeClr val="bg1"/>
                </a:solidFill>
                <a:cs typeface="Arial" panose="020B0604020202020204" pitchFamily="34" charset="0"/>
              </a:rPr>
              <a:t>Анализ контрактов</a:t>
            </a:r>
            <a:endParaRPr lang="ru-RU" sz="1400" b="1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4534501" y="3860385"/>
            <a:ext cx="3033177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0" dirty="0">
                <a:latin typeface="+mj-lt"/>
              </a:rPr>
              <a:t>Анализ контрактов в части своевременного заключения и регистрации данных</a:t>
            </a:r>
          </a:p>
        </p:txBody>
      </p:sp>
      <p:sp>
        <p:nvSpPr>
          <p:cNvPr id="30" name="Rectangle 29"/>
          <p:cNvSpPr>
            <a:spLocks noChangeArrowheads="1"/>
          </p:cNvSpPr>
          <p:nvPr/>
        </p:nvSpPr>
        <p:spPr bwMode="gray">
          <a:xfrm>
            <a:off x="8382443" y="3499550"/>
            <a:ext cx="3168352" cy="1443424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rgbClr val="2C4156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wrap="none" lIns="91139" tIns="45570" rIns="91139" bIns="45570" anchor="ctr">
            <a:noAutofit/>
          </a:bodyPr>
          <a:lstStyle/>
          <a:p>
            <a:endParaRPr lang="en-GB" sz="100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31" name="Rectangle 13"/>
          <p:cNvSpPr>
            <a:spLocks noChangeArrowheads="1"/>
          </p:cNvSpPr>
          <p:nvPr/>
        </p:nvSpPr>
        <p:spPr bwMode="gray">
          <a:xfrm>
            <a:off x="8382443" y="3417251"/>
            <a:ext cx="3168352" cy="53605"/>
          </a:xfrm>
          <a:prstGeom prst="rect">
            <a:avLst/>
          </a:prstGeom>
          <a:solidFill>
            <a:srgbClr val="2C4156"/>
          </a:solidFill>
          <a:ln>
            <a:solidFill>
              <a:srgbClr val="2C4156"/>
            </a:solidFill>
          </a:ln>
          <a:effectLst/>
          <a:extLst/>
        </p:spPr>
        <p:txBody>
          <a:bodyPr wrap="none" lIns="91139" tIns="45570" rIns="91139" bIns="45570" anchor="ctr">
            <a:noAutofit/>
          </a:bodyPr>
          <a:lstStyle>
            <a:lvl1pPr>
              <a:defRPr sz="2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endParaRPr lang="en-GB" sz="1000">
              <a:solidFill>
                <a:srgbClr val="00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32" name="Rectangle 12"/>
          <p:cNvSpPr>
            <a:spLocks noChangeArrowheads="1"/>
          </p:cNvSpPr>
          <p:nvPr/>
        </p:nvSpPr>
        <p:spPr bwMode="gray">
          <a:xfrm>
            <a:off x="8382443" y="3499550"/>
            <a:ext cx="3168352" cy="360835"/>
          </a:xfrm>
          <a:prstGeom prst="rect">
            <a:avLst/>
          </a:prstGeom>
          <a:solidFill>
            <a:srgbClr val="2C4156"/>
          </a:solidFill>
          <a:ln w="19050">
            <a:solidFill>
              <a:srgbClr val="2C4156"/>
            </a:solidFill>
            <a:miter lim="800000"/>
            <a:headEnd/>
            <a:tailEnd/>
          </a:ln>
          <a:effectLst/>
          <a:extLst/>
        </p:spPr>
        <p:txBody>
          <a:bodyPr wrap="none" lIns="91139" tIns="45570" rIns="91139" bIns="45570" anchor="ctr">
            <a:noAutofit/>
          </a:bodyPr>
          <a:lstStyle/>
          <a:p>
            <a:endParaRPr lang="en-GB" sz="1000">
              <a:solidFill>
                <a:schemeClr val="tx2"/>
              </a:solidFill>
              <a:latin typeface="+mn-lt"/>
              <a:cs typeface="Arial" pitchFamily="34" charset="0"/>
            </a:endParaRPr>
          </a:p>
        </p:txBody>
      </p:sp>
      <p:sp>
        <p:nvSpPr>
          <p:cNvPr id="33" name="Rectangle 16"/>
          <p:cNvSpPr>
            <a:spLocks noChangeArrowheads="1"/>
          </p:cNvSpPr>
          <p:nvPr/>
        </p:nvSpPr>
        <p:spPr bwMode="gray">
          <a:xfrm>
            <a:off x="8477128" y="3584606"/>
            <a:ext cx="295518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895350">
              <a:defRPr sz="2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895350"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895350">
              <a:defRPr sz="2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895350">
              <a:defRPr sz="2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r>
              <a:rPr lang="ru-RU" sz="1400" dirty="0">
                <a:solidFill>
                  <a:schemeClr val="bg1"/>
                </a:solidFill>
                <a:cs typeface="Arial" panose="020B0604020202020204" pitchFamily="34" charset="0"/>
              </a:rPr>
              <a:t>Исполнение контрактов</a:t>
            </a:r>
            <a:endParaRPr lang="ru-RU" sz="1400" b="1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8477128" y="3885107"/>
            <a:ext cx="3033177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0" dirty="0">
                <a:latin typeface="+mj-lt"/>
              </a:rPr>
              <a:t>Анализ исполнения заключенных контрактов (наличие отчетов и исполнительных документов)</a:t>
            </a:r>
          </a:p>
        </p:txBody>
      </p:sp>
      <p:cxnSp>
        <p:nvCxnSpPr>
          <p:cNvPr id="35" name="Straight Arrow Connector 34"/>
          <p:cNvCxnSpPr/>
          <p:nvPr/>
        </p:nvCxnSpPr>
        <p:spPr>
          <a:xfrm flipH="1">
            <a:off x="6023992" y="2414801"/>
            <a:ext cx="370905" cy="949733"/>
          </a:xfrm>
          <a:prstGeom prst="straightConnector1">
            <a:avLst/>
          </a:prstGeom>
          <a:ln w="19050">
            <a:solidFill>
              <a:srgbClr val="2C4156"/>
            </a:solidFill>
            <a:tailEnd type="triangl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4709454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ct 2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50488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4" name="think-cell Slide" r:id="rId19" imgW="581" imgH="586" progId="TCLayout.ActiveDocument.1">
                  <p:embed/>
                </p:oleObj>
              </mc:Choice>
              <mc:Fallback>
                <p:oleObj name="think-cell Slide" r:id="rId19" imgW="581" imgH="5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rgbClr r="0" g="0" b="0"/>
          </a:solidFill>
          <a:ln w="9525" cmpd="sng">
            <a:solidFill>
              <a:schemeClr val="accent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1400" b="0" dirty="0">
              <a:solidFill>
                <a:schemeClr val="tx1"/>
              </a:solidFill>
              <a:latin typeface="Arial Narrow" panose="020B0606020202030204" pitchFamily="34" charset="0"/>
              <a:sym typeface="Arial Narrow" panose="020B0606020202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Контрольные мероприятия 2015 г.</a:t>
            </a:r>
          </a:p>
        </p:txBody>
      </p:sp>
      <p:cxnSp>
        <p:nvCxnSpPr>
          <p:cNvPr id="64" name="Straight Connector 63"/>
          <p:cNvCxnSpPr/>
          <p:nvPr>
            <p:custDataLst>
              <p:tags r:id="rId4"/>
            </p:custDataLst>
          </p:nvPr>
        </p:nvCxnSpPr>
        <p:spPr bwMode="auto">
          <a:xfrm>
            <a:off x="2852738" y="5476875"/>
            <a:ext cx="0" cy="28575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/>
          <p:cNvCxnSpPr/>
          <p:nvPr>
            <p:custDataLst>
              <p:tags r:id="rId5"/>
            </p:custDataLst>
          </p:nvPr>
        </p:nvCxnSpPr>
        <p:spPr bwMode="auto">
          <a:xfrm>
            <a:off x="3262313" y="4829175"/>
            <a:ext cx="0" cy="28575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/>
          <p:cNvCxnSpPr/>
          <p:nvPr>
            <p:custDataLst>
              <p:tags r:id="rId6"/>
            </p:custDataLst>
          </p:nvPr>
        </p:nvCxnSpPr>
        <p:spPr bwMode="auto">
          <a:xfrm>
            <a:off x="3967163" y="4176713"/>
            <a:ext cx="0" cy="28575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/>
          <p:cNvCxnSpPr/>
          <p:nvPr>
            <p:custDataLst>
              <p:tags r:id="rId7"/>
            </p:custDataLst>
          </p:nvPr>
        </p:nvCxnSpPr>
        <p:spPr bwMode="auto">
          <a:xfrm>
            <a:off x="4772025" y="3524250"/>
            <a:ext cx="0" cy="28575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/>
          <p:cNvCxnSpPr/>
          <p:nvPr>
            <p:custDataLst>
              <p:tags r:id="rId8"/>
            </p:custDataLst>
          </p:nvPr>
        </p:nvCxnSpPr>
        <p:spPr bwMode="auto">
          <a:xfrm>
            <a:off x="5586413" y="2871788"/>
            <a:ext cx="0" cy="28575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/>
          <p:cNvCxnSpPr/>
          <p:nvPr>
            <p:custDataLst>
              <p:tags r:id="rId9"/>
            </p:custDataLst>
          </p:nvPr>
        </p:nvCxnSpPr>
        <p:spPr bwMode="auto">
          <a:xfrm>
            <a:off x="8281988" y="2224088"/>
            <a:ext cx="0" cy="28575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1" name="Object 30"/>
          <p:cNvGraphicFramePr>
            <a:graphicFrameLocks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000557266"/>
              </p:ext>
            </p:extLst>
          </p:nvPr>
        </p:nvGraphicFramePr>
        <p:xfrm>
          <a:off x="2324100" y="1523999"/>
          <a:ext cx="6376997" cy="490083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5" name="Chart" r:id="rId21" imgW="6376997" imgH="4900832" progId="MSGraph.Chart.8">
                  <p:embed followColorScheme="full"/>
                </p:oleObj>
              </mc:Choice>
              <mc:Fallback>
                <p:oleObj name="Chart" r:id="rId21" imgW="6376997" imgH="4900832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2324100" y="1523999"/>
                        <a:ext cx="6376997" cy="490083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Text Placeholder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669925" y="5822950"/>
            <a:ext cx="1765300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1125444" rtl="0" eaLnBrk="1" latinLnBrk="0" hangingPunct="1">
              <a:lnSpc>
                <a:spcPct val="93000"/>
              </a:lnSpc>
              <a:spcBef>
                <a:spcPts val="0"/>
              </a:spcBef>
              <a:buFont typeface="Arial" pitchFamily="34" charset="0"/>
              <a:buNone/>
              <a:defRPr lang="en-US" sz="2585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3576" indent="-283576" algn="l" defTabSz="1125444" rtl="0" eaLnBrk="1" latinLnBrk="0" hangingPunct="1">
              <a:lnSpc>
                <a:spcPct val="93000"/>
              </a:lnSpc>
              <a:spcBef>
                <a:spcPts val="1477"/>
              </a:spcBef>
              <a:buFont typeface="Arial Narrow" pitchFamily="34" charset="0"/>
              <a:buChar char="&gt;"/>
              <a:defRPr lang="en-US" sz="2585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3738" indent="-288007" algn="l" defTabSz="1125444" rtl="0" eaLnBrk="1" latinLnBrk="0" hangingPunct="1">
              <a:lnSpc>
                <a:spcPct val="93000"/>
              </a:lnSpc>
              <a:spcBef>
                <a:spcPts val="492"/>
              </a:spcBef>
              <a:buFont typeface="Arial Narrow" pitchFamily="34" charset="0"/>
              <a:buChar char="–"/>
              <a:defRPr lang="en-US" sz="2585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59591" indent="-248129" algn="l" defTabSz="1125444" rtl="0" eaLnBrk="1" latinLnBrk="0" hangingPunct="1">
              <a:lnSpc>
                <a:spcPct val="93000"/>
              </a:lnSpc>
              <a:spcBef>
                <a:spcPts val="246"/>
              </a:spcBef>
              <a:buFont typeface="Arial Narrow" pitchFamily="34" charset="0"/>
              <a:buChar char="-"/>
              <a:defRPr lang="en-US" sz="2585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9591" indent="0" algn="l" defTabSz="1125444" rtl="0" eaLnBrk="1" latinLnBrk="0" hangingPunct="1">
              <a:lnSpc>
                <a:spcPct val="93000"/>
              </a:lnSpc>
              <a:spcBef>
                <a:spcPts val="0"/>
              </a:spcBef>
              <a:buFont typeface="Arial" pitchFamily="34" charset="0"/>
              <a:buNone/>
              <a:defRPr sz="2092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3094970" indent="-281361" algn="l" defTabSz="112544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691" indent="-281361" algn="l" defTabSz="112544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20413" indent="-281361" algn="l" defTabSz="112544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83135" indent="-281361" algn="l" defTabSz="112544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lnSpc>
                <a:spcPct val="100000"/>
              </a:lnSpc>
              <a:spcBef>
                <a:spcPct val="0"/>
              </a:spcBef>
              <a:buNone/>
            </a:pPr>
            <a:fld id="{58B23482-2E3F-458D-9F48-173521277C4C}" type="datetime'''Пл''ан''''ирован''и''е ''''''''за''к''у''''п''''''ок'''''">
              <a:rPr lang="ru-RU" altLang="en-US" sz="1600">
                <a:sym typeface="+mn-lt"/>
              </a:rPr>
              <a:pPr marL="0" lvl="1" indent="0" algn="r">
                <a:lnSpc>
                  <a:spcPct val="100000"/>
                </a:lnSpc>
                <a:spcBef>
                  <a:spcPct val="0"/>
                </a:spcBef>
                <a:buNone/>
              </a:pPr>
              <a:t>Планирование закупок</a:t>
            </a:fld>
            <a:endParaRPr lang="ru-RU" sz="1600" dirty="0">
              <a:sym typeface="+mn-lt"/>
            </a:endParaRPr>
          </a:p>
        </p:txBody>
      </p:sp>
      <p:sp>
        <p:nvSpPr>
          <p:cNvPr id="39" name="Text Placeholder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596900" y="5173663"/>
            <a:ext cx="1838325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1125444" rtl="0" eaLnBrk="1" latinLnBrk="0" hangingPunct="1">
              <a:lnSpc>
                <a:spcPct val="93000"/>
              </a:lnSpc>
              <a:spcBef>
                <a:spcPts val="0"/>
              </a:spcBef>
              <a:buFont typeface="Arial" pitchFamily="34" charset="0"/>
              <a:buNone/>
              <a:defRPr lang="en-US" sz="2585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3576" indent="-283576" algn="l" defTabSz="1125444" rtl="0" eaLnBrk="1" latinLnBrk="0" hangingPunct="1">
              <a:lnSpc>
                <a:spcPct val="93000"/>
              </a:lnSpc>
              <a:spcBef>
                <a:spcPts val="1477"/>
              </a:spcBef>
              <a:buFont typeface="Arial Narrow" pitchFamily="34" charset="0"/>
              <a:buChar char="&gt;"/>
              <a:defRPr lang="en-US" sz="2585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3738" indent="-288007" algn="l" defTabSz="1125444" rtl="0" eaLnBrk="1" latinLnBrk="0" hangingPunct="1">
              <a:lnSpc>
                <a:spcPct val="93000"/>
              </a:lnSpc>
              <a:spcBef>
                <a:spcPts val="492"/>
              </a:spcBef>
              <a:buFont typeface="Arial Narrow" pitchFamily="34" charset="0"/>
              <a:buChar char="–"/>
              <a:defRPr lang="en-US" sz="2585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59591" indent="-248129" algn="l" defTabSz="1125444" rtl="0" eaLnBrk="1" latinLnBrk="0" hangingPunct="1">
              <a:lnSpc>
                <a:spcPct val="93000"/>
              </a:lnSpc>
              <a:spcBef>
                <a:spcPts val="246"/>
              </a:spcBef>
              <a:buFont typeface="Arial Narrow" pitchFamily="34" charset="0"/>
              <a:buChar char="-"/>
              <a:defRPr lang="en-US" sz="2585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9591" indent="0" algn="l" defTabSz="1125444" rtl="0" eaLnBrk="1" latinLnBrk="0" hangingPunct="1">
              <a:lnSpc>
                <a:spcPct val="93000"/>
              </a:lnSpc>
              <a:spcBef>
                <a:spcPts val="0"/>
              </a:spcBef>
              <a:buFont typeface="Arial" pitchFamily="34" charset="0"/>
              <a:buNone/>
              <a:defRPr sz="2092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3094970" indent="-281361" algn="l" defTabSz="112544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691" indent="-281361" algn="l" defTabSz="112544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20413" indent="-281361" algn="l" defTabSz="112544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83135" indent="-281361" algn="l" defTabSz="112544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lnSpc>
                <a:spcPct val="100000"/>
              </a:lnSpc>
              <a:spcBef>
                <a:spcPct val="0"/>
              </a:spcBef>
              <a:buNone/>
            </a:pPr>
            <a:fld id="{5489D3D8-F60F-4E19-85F9-D2B039C9C980}" type="datetime'''З''''акл''юч''''''е''н''''''и''е'' ко''нт''р''а''ктов'">
              <a:rPr lang="ru-RU" altLang="en-US" sz="1600">
                <a:sym typeface="+mn-lt"/>
              </a:rPr>
              <a:pPr marL="0" lvl="1" indent="0" algn="r">
                <a:lnSpc>
                  <a:spcPct val="100000"/>
                </a:lnSpc>
                <a:spcBef>
                  <a:spcPct val="0"/>
                </a:spcBef>
                <a:buNone/>
              </a:pPr>
              <a:t>Заключение контрактов</a:t>
            </a:fld>
            <a:endParaRPr lang="ru-RU" sz="1600" dirty="0">
              <a:sym typeface="+mn-lt"/>
            </a:endParaRPr>
          </a:p>
        </p:txBody>
      </p:sp>
      <p:sp>
        <p:nvSpPr>
          <p:cNvPr id="32" name="Text Placeholder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274638" y="1917700"/>
            <a:ext cx="2160588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1125444" rtl="0" eaLnBrk="1" latinLnBrk="0" hangingPunct="1">
              <a:lnSpc>
                <a:spcPct val="93000"/>
              </a:lnSpc>
              <a:spcBef>
                <a:spcPts val="0"/>
              </a:spcBef>
              <a:buFont typeface="Arial" pitchFamily="34" charset="0"/>
              <a:buNone/>
              <a:defRPr lang="en-US" sz="2585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3576" indent="-283576" algn="l" defTabSz="1125444" rtl="0" eaLnBrk="1" latinLnBrk="0" hangingPunct="1">
              <a:lnSpc>
                <a:spcPct val="93000"/>
              </a:lnSpc>
              <a:spcBef>
                <a:spcPts val="1477"/>
              </a:spcBef>
              <a:buFont typeface="Arial Narrow" pitchFamily="34" charset="0"/>
              <a:buChar char="&gt;"/>
              <a:defRPr lang="en-US" sz="2585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3738" indent="-288007" algn="l" defTabSz="1125444" rtl="0" eaLnBrk="1" latinLnBrk="0" hangingPunct="1">
              <a:lnSpc>
                <a:spcPct val="93000"/>
              </a:lnSpc>
              <a:spcBef>
                <a:spcPts val="492"/>
              </a:spcBef>
              <a:buFont typeface="Arial Narrow" pitchFamily="34" charset="0"/>
              <a:buChar char="–"/>
              <a:defRPr lang="en-US" sz="2585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59591" indent="-248129" algn="l" defTabSz="1125444" rtl="0" eaLnBrk="1" latinLnBrk="0" hangingPunct="1">
              <a:lnSpc>
                <a:spcPct val="93000"/>
              </a:lnSpc>
              <a:spcBef>
                <a:spcPts val="246"/>
              </a:spcBef>
              <a:buFont typeface="Arial Narrow" pitchFamily="34" charset="0"/>
              <a:buChar char="-"/>
              <a:defRPr lang="en-US" sz="2585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9591" indent="0" algn="l" defTabSz="1125444" rtl="0" eaLnBrk="1" latinLnBrk="0" hangingPunct="1">
              <a:lnSpc>
                <a:spcPct val="93000"/>
              </a:lnSpc>
              <a:spcBef>
                <a:spcPts val="0"/>
              </a:spcBef>
              <a:buFont typeface="Arial" pitchFamily="34" charset="0"/>
              <a:buNone/>
              <a:defRPr sz="2092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3094970" indent="-281361" algn="l" defTabSz="112544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691" indent="-281361" algn="l" defTabSz="112544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20413" indent="-281361" algn="l" defTabSz="112544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83135" indent="-281361" algn="l" defTabSz="112544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lnSpc>
                <a:spcPct val="100000"/>
              </a:lnSpc>
              <a:spcBef>
                <a:spcPct val="0"/>
              </a:spcBef>
              <a:buNone/>
            </a:pPr>
            <a:fld id="{D68A8373-95AC-4D8F-B2EA-82FAA2260206}" type="datetime'''Выя''''в''л''''ено вс''е''''''''го нару''ш''ен''''''ий'''">
              <a:rPr lang="ru-RU" altLang="en-US" sz="1600">
                <a:sym typeface="+mn-lt"/>
              </a:rPr>
              <a:pPr/>
              <a:t>Выявлено всего нарушений</a:t>
            </a:fld>
            <a:endParaRPr lang="ru-RU" sz="1600" dirty="0">
              <a:sym typeface="+mn-lt"/>
            </a:endParaRPr>
          </a:p>
        </p:txBody>
      </p:sp>
      <p:sp>
        <p:nvSpPr>
          <p:cNvPr id="41" name="Text Placeholder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325438" y="4400550"/>
            <a:ext cx="2109788" cy="488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1125444" rtl="0" eaLnBrk="1" latinLnBrk="0" hangingPunct="1">
              <a:lnSpc>
                <a:spcPct val="93000"/>
              </a:lnSpc>
              <a:spcBef>
                <a:spcPts val="0"/>
              </a:spcBef>
              <a:buFont typeface="Arial" pitchFamily="34" charset="0"/>
              <a:buNone/>
              <a:defRPr lang="en-US" sz="2585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3576" indent="-283576" algn="l" defTabSz="1125444" rtl="0" eaLnBrk="1" latinLnBrk="0" hangingPunct="1">
              <a:lnSpc>
                <a:spcPct val="93000"/>
              </a:lnSpc>
              <a:spcBef>
                <a:spcPts val="1477"/>
              </a:spcBef>
              <a:buFont typeface="Arial Narrow" pitchFamily="34" charset="0"/>
              <a:buChar char="&gt;"/>
              <a:defRPr lang="en-US" sz="2585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3738" indent="-288007" algn="l" defTabSz="1125444" rtl="0" eaLnBrk="1" latinLnBrk="0" hangingPunct="1">
              <a:lnSpc>
                <a:spcPct val="93000"/>
              </a:lnSpc>
              <a:spcBef>
                <a:spcPts val="492"/>
              </a:spcBef>
              <a:buFont typeface="Arial Narrow" pitchFamily="34" charset="0"/>
              <a:buChar char="–"/>
              <a:defRPr lang="en-US" sz="2585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59591" indent="-248129" algn="l" defTabSz="1125444" rtl="0" eaLnBrk="1" latinLnBrk="0" hangingPunct="1">
              <a:lnSpc>
                <a:spcPct val="93000"/>
              </a:lnSpc>
              <a:spcBef>
                <a:spcPts val="246"/>
              </a:spcBef>
              <a:buFont typeface="Arial Narrow" pitchFamily="34" charset="0"/>
              <a:buChar char="-"/>
              <a:defRPr lang="en-US" sz="2585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9591" indent="0" algn="l" defTabSz="1125444" rtl="0" eaLnBrk="1" latinLnBrk="0" hangingPunct="1">
              <a:lnSpc>
                <a:spcPct val="93000"/>
              </a:lnSpc>
              <a:spcBef>
                <a:spcPts val="0"/>
              </a:spcBef>
              <a:buFont typeface="Arial" pitchFamily="34" charset="0"/>
              <a:buNone/>
              <a:defRPr sz="2092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3094970" indent="-281361" algn="l" defTabSz="112544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691" indent="-281361" algn="l" defTabSz="112544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20413" indent="-281361" algn="l" defTabSz="112544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83135" indent="-281361" algn="l" defTabSz="112544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lnSpc>
                <a:spcPct val="100000"/>
              </a:lnSpc>
              <a:spcBef>
                <a:spcPct val="0"/>
              </a:spcBef>
              <a:buNone/>
            </a:pPr>
            <a:fld id="{3771986B-4871-4CA9-8D7C-20DE1B6F1294}" type="datetime'Непр''а''воме''рные з''акупки у &#10;единс''т''венного поставщика'">
              <a:rPr lang="ru-RU" altLang="en-US" sz="1600">
                <a:sym typeface="+mn-lt"/>
              </a:rPr>
              <a:pPr/>
              <a:t>Неправомерные закупки у 
единственного поставщика</a:t>
            </a:fld>
            <a:endParaRPr lang="ru-RU" sz="1600" dirty="0">
              <a:sym typeface="+mn-lt"/>
            </a:endParaRPr>
          </a:p>
        </p:txBody>
      </p:sp>
      <p:sp>
        <p:nvSpPr>
          <p:cNvPr id="33" name="Text Placeholder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800100" y="3870325"/>
            <a:ext cx="1635125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1125444" rtl="0" eaLnBrk="1" latinLnBrk="0" hangingPunct="1">
              <a:lnSpc>
                <a:spcPct val="93000"/>
              </a:lnSpc>
              <a:spcBef>
                <a:spcPts val="0"/>
              </a:spcBef>
              <a:buFont typeface="Arial" pitchFamily="34" charset="0"/>
              <a:buNone/>
              <a:defRPr lang="en-US" sz="2585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3576" indent="-283576" algn="l" defTabSz="1125444" rtl="0" eaLnBrk="1" latinLnBrk="0" hangingPunct="1">
              <a:lnSpc>
                <a:spcPct val="93000"/>
              </a:lnSpc>
              <a:spcBef>
                <a:spcPts val="1477"/>
              </a:spcBef>
              <a:buFont typeface="Arial Narrow" pitchFamily="34" charset="0"/>
              <a:buChar char="&gt;"/>
              <a:defRPr lang="en-US" sz="2585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3738" indent="-288007" algn="l" defTabSz="1125444" rtl="0" eaLnBrk="1" latinLnBrk="0" hangingPunct="1">
              <a:lnSpc>
                <a:spcPct val="93000"/>
              </a:lnSpc>
              <a:spcBef>
                <a:spcPts val="492"/>
              </a:spcBef>
              <a:buFont typeface="Arial Narrow" pitchFamily="34" charset="0"/>
              <a:buChar char="–"/>
              <a:defRPr lang="en-US" sz="2585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59591" indent="-248129" algn="l" defTabSz="1125444" rtl="0" eaLnBrk="1" latinLnBrk="0" hangingPunct="1">
              <a:lnSpc>
                <a:spcPct val="93000"/>
              </a:lnSpc>
              <a:spcBef>
                <a:spcPts val="246"/>
              </a:spcBef>
              <a:buFont typeface="Arial Narrow" pitchFamily="34" charset="0"/>
              <a:buChar char="-"/>
              <a:defRPr lang="en-US" sz="2585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9591" indent="0" algn="l" defTabSz="1125444" rtl="0" eaLnBrk="1" latinLnBrk="0" hangingPunct="1">
              <a:lnSpc>
                <a:spcPct val="93000"/>
              </a:lnSpc>
              <a:spcBef>
                <a:spcPts val="0"/>
              </a:spcBef>
              <a:buFont typeface="Arial" pitchFamily="34" charset="0"/>
              <a:buNone/>
              <a:defRPr sz="2092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3094970" indent="-281361" algn="l" defTabSz="112544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691" indent="-281361" algn="l" defTabSz="112544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20413" indent="-281361" algn="l" defTabSz="112544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83135" indent="-281361" algn="l" defTabSz="112544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lnSpc>
                <a:spcPct val="100000"/>
              </a:lnSpc>
              <a:spcBef>
                <a:spcPct val="0"/>
              </a:spcBef>
              <a:buNone/>
            </a:pPr>
            <a:fld id="{AE4CFDF9-455E-4502-BA7C-A949B8BFB86B}" type="datetime'''Ор''''га''''ни''''за''ц''''ия'''''' ''за''куп''о''''''к'''">
              <a:rPr lang="ru-RU" altLang="en-US" sz="1600"/>
              <a:pPr/>
              <a:t>Организация закупок</a:t>
            </a:fld>
            <a:endParaRPr lang="ru-RU" sz="1600" dirty="0">
              <a:sym typeface="+mn-lt"/>
            </a:endParaRPr>
          </a:p>
        </p:txBody>
      </p:sp>
      <p:sp>
        <p:nvSpPr>
          <p:cNvPr id="37" name="Text Placeholder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619125" y="2446338"/>
            <a:ext cx="1816100" cy="488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1125444" rtl="0" eaLnBrk="1" latinLnBrk="0" hangingPunct="1">
              <a:lnSpc>
                <a:spcPct val="93000"/>
              </a:lnSpc>
              <a:spcBef>
                <a:spcPts val="0"/>
              </a:spcBef>
              <a:buFont typeface="Arial" pitchFamily="34" charset="0"/>
              <a:buNone/>
              <a:defRPr lang="en-US" sz="2585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3576" indent="-283576" algn="l" defTabSz="1125444" rtl="0" eaLnBrk="1" latinLnBrk="0" hangingPunct="1">
              <a:lnSpc>
                <a:spcPct val="93000"/>
              </a:lnSpc>
              <a:spcBef>
                <a:spcPts val="1477"/>
              </a:spcBef>
              <a:buFont typeface="Arial Narrow" pitchFamily="34" charset="0"/>
              <a:buChar char="&gt;"/>
              <a:defRPr lang="en-US" sz="2585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3738" indent="-288007" algn="l" defTabSz="1125444" rtl="0" eaLnBrk="1" latinLnBrk="0" hangingPunct="1">
              <a:lnSpc>
                <a:spcPct val="93000"/>
              </a:lnSpc>
              <a:spcBef>
                <a:spcPts val="492"/>
              </a:spcBef>
              <a:buFont typeface="Arial Narrow" pitchFamily="34" charset="0"/>
              <a:buChar char="–"/>
              <a:defRPr lang="en-US" sz="2585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59591" indent="-248129" algn="l" defTabSz="1125444" rtl="0" eaLnBrk="1" latinLnBrk="0" hangingPunct="1">
              <a:lnSpc>
                <a:spcPct val="93000"/>
              </a:lnSpc>
              <a:spcBef>
                <a:spcPts val="246"/>
              </a:spcBef>
              <a:buFont typeface="Arial Narrow" pitchFamily="34" charset="0"/>
              <a:buChar char="-"/>
              <a:defRPr lang="en-US" sz="2585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9591" indent="0" algn="l" defTabSz="1125444" rtl="0" eaLnBrk="1" latinLnBrk="0" hangingPunct="1">
              <a:lnSpc>
                <a:spcPct val="93000"/>
              </a:lnSpc>
              <a:spcBef>
                <a:spcPts val="0"/>
              </a:spcBef>
              <a:buFont typeface="Arial" pitchFamily="34" charset="0"/>
              <a:buNone/>
              <a:defRPr sz="2092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3094970" indent="-281361" algn="l" defTabSz="112544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691" indent="-281361" algn="l" defTabSz="112544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20413" indent="-281361" algn="l" defTabSz="112544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83135" indent="-281361" algn="l" defTabSz="112544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lnSpc>
                <a:spcPct val="100000"/>
              </a:lnSpc>
              <a:spcBef>
                <a:spcPct val="0"/>
              </a:spcBef>
              <a:buNone/>
            </a:pPr>
            <a:fld id="{A9383E30-4346-4A3E-97DD-45556E051B8A}" type="datetime'Д''ок''''ум''''е''''''нтация&#10;(и''з''вещ''ения о з''акуп''ках)'">
              <a:rPr lang="ru-RU" altLang="en-US" sz="1600">
                <a:sym typeface="+mn-lt"/>
              </a:rPr>
              <a:pPr/>
              <a:t>Документация
(извещения о закупках)</a:t>
            </a:fld>
            <a:endParaRPr lang="ru-RU" sz="1600" dirty="0">
              <a:sym typeface="+mn-lt"/>
            </a:endParaRPr>
          </a:p>
        </p:txBody>
      </p:sp>
      <p:sp>
        <p:nvSpPr>
          <p:cNvPr id="43" name="Text Placeholder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709613" y="3095625"/>
            <a:ext cx="1725613" cy="488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1125444" rtl="0" eaLnBrk="1" latinLnBrk="0" hangingPunct="1">
              <a:lnSpc>
                <a:spcPct val="93000"/>
              </a:lnSpc>
              <a:spcBef>
                <a:spcPts val="0"/>
              </a:spcBef>
              <a:buFont typeface="Arial" pitchFamily="34" charset="0"/>
              <a:buNone/>
              <a:defRPr lang="en-US" sz="2585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3576" indent="-283576" algn="l" defTabSz="1125444" rtl="0" eaLnBrk="1" latinLnBrk="0" hangingPunct="1">
              <a:lnSpc>
                <a:spcPct val="93000"/>
              </a:lnSpc>
              <a:spcBef>
                <a:spcPts val="1477"/>
              </a:spcBef>
              <a:buFont typeface="Arial Narrow" pitchFamily="34" charset="0"/>
              <a:buChar char="&gt;"/>
              <a:defRPr lang="en-US" sz="2585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3738" indent="-288007" algn="l" defTabSz="1125444" rtl="0" eaLnBrk="1" latinLnBrk="0" hangingPunct="1">
              <a:lnSpc>
                <a:spcPct val="93000"/>
              </a:lnSpc>
              <a:spcBef>
                <a:spcPts val="492"/>
              </a:spcBef>
              <a:buFont typeface="Arial Narrow" pitchFamily="34" charset="0"/>
              <a:buChar char="–"/>
              <a:defRPr lang="en-US" sz="2585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59591" indent="-248129" algn="l" defTabSz="1125444" rtl="0" eaLnBrk="1" latinLnBrk="0" hangingPunct="1">
              <a:lnSpc>
                <a:spcPct val="93000"/>
              </a:lnSpc>
              <a:spcBef>
                <a:spcPts val="246"/>
              </a:spcBef>
              <a:buFont typeface="Arial Narrow" pitchFamily="34" charset="0"/>
              <a:buChar char="-"/>
              <a:defRPr lang="en-US" sz="2585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9591" indent="0" algn="l" defTabSz="1125444" rtl="0" eaLnBrk="1" latinLnBrk="0" hangingPunct="1">
              <a:lnSpc>
                <a:spcPct val="93000"/>
              </a:lnSpc>
              <a:spcBef>
                <a:spcPts val="0"/>
              </a:spcBef>
              <a:buFont typeface="Arial" pitchFamily="34" charset="0"/>
              <a:buNone/>
              <a:defRPr sz="2092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3094970" indent="-281361" algn="l" defTabSz="112544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691" indent="-281361" algn="l" defTabSz="112544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20413" indent="-281361" algn="l" defTabSz="112544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83135" indent="-281361" algn="l" defTabSz="112544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lnSpc>
                <a:spcPct val="100000"/>
              </a:lnSpc>
              <a:spcBef>
                <a:spcPct val="0"/>
              </a:spcBef>
              <a:buNone/>
            </a:pPr>
            <a:fld id="{24AE9385-C597-4498-BC57-F0AD7D562132}" type="datetime'Нарушен''ия ''п''ри&#10;и''сп''о''лн''ении ''ко''нтрак''''та'">
              <a:rPr lang="ru-RU" altLang="en-US" sz="1600">
                <a:sym typeface="+mn-lt"/>
              </a:rPr>
              <a:pPr/>
              <a:t>Нарушения при
исполнении контракта</a:t>
            </a:fld>
            <a:endParaRPr lang="ru-RU" sz="1600" dirty="0">
              <a:sym typeface="+mn-lt"/>
            </a:endParaRPr>
          </a:p>
        </p:txBody>
      </p:sp>
      <p:sp>
        <p:nvSpPr>
          <p:cNvPr id="73" name="TextBox 72"/>
          <p:cNvSpPr txBox="1"/>
          <p:nvPr/>
        </p:nvSpPr>
        <p:spPr>
          <a:xfrm>
            <a:off x="8976320" y="1772816"/>
            <a:ext cx="3024336" cy="997196"/>
          </a:xfrm>
          <a:prstGeom prst="rect">
            <a:avLst/>
          </a:prstGeom>
          <a:solidFill>
            <a:srgbClr val="FFDB69"/>
          </a:solidFill>
          <a:ln w="9525">
            <a:noFill/>
          </a:ln>
        </p:spPr>
        <p:txBody>
          <a:bodyPr wrap="square" lIns="72000" tIns="0" rIns="72000" bIns="0" rtlCol="0">
            <a:spAutoFit/>
          </a:bodyPr>
          <a:lstStyle>
            <a:defPPr>
              <a:defRPr lang="de-DE"/>
            </a:defPPr>
            <a:lvl1pPr>
              <a:lnSpc>
                <a:spcPct val="90000"/>
              </a:lnSpc>
              <a:spcBef>
                <a:spcPts val="0"/>
              </a:spcBef>
              <a:defRPr sz="1800" b="0">
                <a:latin typeface="+mn-lt"/>
                <a:cs typeface="Arial" pitchFamily="34" charset="0"/>
              </a:defRPr>
            </a:lvl1pPr>
          </a:lstStyle>
          <a:p>
            <a:r>
              <a:rPr lang="ru-RU" dirty="0"/>
              <a:t>Фактически в 2015 году было </a:t>
            </a:r>
            <a:r>
              <a:rPr lang="ru-RU" b="1" dirty="0"/>
              <a:t>проведено 34 проверки</a:t>
            </a:r>
            <a:r>
              <a:rPr lang="ru-RU" dirty="0"/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/>
              <a:t>32 по плану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/>
              <a:t>2 по распоряжению ДЗМ)</a:t>
            </a:r>
          </a:p>
        </p:txBody>
      </p:sp>
    </p:spTree>
    <p:extLst>
      <p:ext uri="{BB962C8B-B14F-4D97-AF65-F5344CB8AC3E}">
        <p14:creationId xmlns:p14="http://schemas.microsoft.com/office/powerpoint/2010/main" val="182977097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ct 2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15172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94" name="think-cell Slide" r:id="rId15" imgW="581" imgH="586" progId="TCLayout.ActiveDocument.1">
                  <p:embed/>
                </p:oleObj>
              </mc:Choice>
              <mc:Fallback>
                <p:oleObj name="think-cell Slide" r:id="rId15" imgW="581" imgH="586" progId="TCLayout.ActiveDocument.1">
                  <p:embed/>
                  <p:pic>
                    <p:nvPicPr>
                      <p:cNvPr id="30" name="Object 29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rgbClr r="0" g="0" b="0"/>
          </a:solidFill>
          <a:ln w="9525" cmpd="sng">
            <a:solidFill>
              <a:schemeClr val="accent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1600" b="0" dirty="0">
              <a:solidFill>
                <a:schemeClr val="tx1"/>
              </a:solidFill>
              <a:latin typeface="Arial Narrow" panose="020B0606020202030204" pitchFamily="34" charset="0"/>
              <a:sym typeface="Arial Narrow" panose="020B0606020202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Контрольные мероприятия 2016 г.</a:t>
            </a:r>
          </a:p>
        </p:txBody>
      </p:sp>
      <p:cxnSp>
        <p:nvCxnSpPr>
          <p:cNvPr id="6" name="Straight Connector 5"/>
          <p:cNvCxnSpPr/>
          <p:nvPr>
            <p:custDataLst>
              <p:tags r:id="rId4"/>
            </p:custDataLst>
          </p:nvPr>
        </p:nvCxnSpPr>
        <p:spPr bwMode="auto">
          <a:xfrm>
            <a:off x="3152775" y="3795713"/>
            <a:ext cx="0" cy="333375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/>
          <p:cNvCxnSpPr/>
          <p:nvPr>
            <p:custDataLst>
              <p:tags r:id="rId5"/>
            </p:custDataLst>
          </p:nvPr>
        </p:nvCxnSpPr>
        <p:spPr bwMode="auto">
          <a:xfrm>
            <a:off x="4924425" y="3048000"/>
            <a:ext cx="0" cy="333375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Straight Connector 2"/>
          <p:cNvCxnSpPr/>
          <p:nvPr>
            <p:custDataLst>
              <p:tags r:id="rId6"/>
            </p:custDataLst>
          </p:nvPr>
        </p:nvCxnSpPr>
        <p:spPr bwMode="auto">
          <a:xfrm>
            <a:off x="7977188" y="2295525"/>
            <a:ext cx="0" cy="333375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/>
          <p:cNvCxnSpPr/>
          <p:nvPr>
            <p:custDataLst>
              <p:tags r:id="rId7"/>
            </p:custDataLst>
          </p:nvPr>
        </p:nvCxnSpPr>
        <p:spPr bwMode="auto">
          <a:xfrm>
            <a:off x="2928938" y="4548188"/>
            <a:ext cx="0" cy="333375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1" name="Object 30"/>
          <p:cNvGraphicFramePr>
            <a:graphicFrameLocks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996881528"/>
              </p:ext>
            </p:extLst>
          </p:nvPr>
        </p:nvGraphicFramePr>
        <p:xfrm>
          <a:off x="2514600" y="1524000"/>
          <a:ext cx="5881769" cy="40907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95" name="Chart" r:id="rId17" imgW="5881769" imgH="4090768" progId="MSGraph.Chart.8">
                  <p:embed followColorScheme="full"/>
                </p:oleObj>
              </mc:Choice>
              <mc:Fallback>
                <p:oleObj name="Chart" r:id="rId17" imgW="5881769" imgH="4090768" progId="MSGraph.Chart.8">
                  <p:embed followColorScheme="full"/>
                  <p:pic>
                    <p:nvPicPr>
                      <p:cNvPr id="31" name="Object 30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2514600" y="1524000"/>
                        <a:ext cx="5881769" cy="409076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Text Placeholder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1004888" y="4094163"/>
            <a:ext cx="1635125" cy="488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1125444" rtl="0" eaLnBrk="1" latinLnBrk="0" hangingPunct="1">
              <a:lnSpc>
                <a:spcPct val="93000"/>
              </a:lnSpc>
              <a:spcBef>
                <a:spcPts val="0"/>
              </a:spcBef>
              <a:buFont typeface="Arial" pitchFamily="34" charset="0"/>
              <a:buNone/>
              <a:defRPr lang="en-US" sz="2585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3576" indent="-283576" algn="l" defTabSz="1125444" rtl="0" eaLnBrk="1" latinLnBrk="0" hangingPunct="1">
              <a:lnSpc>
                <a:spcPct val="93000"/>
              </a:lnSpc>
              <a:spcBef>
                <a:spcPts val="1477"/>
              </a:spcBef>
              <a:buFont typeface="Arial Narrow" pitchFamily="34" charset="0"/>
              <a:buChar char="&gt;"/>
              <a:defRPr lang="en-US" sz="2585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3738" indent="-288007" algn="l" defTabSz="1125444" rtl="0" eaLnBrk="1" latinLnBrk="0" hangingPunct="1">
              <a:lnSpc>
                <a:spcPct val="93000"/>
              </a:lnSpc>
              <a:spcBef>
                <a:spcPts val="492"/>
              </a:spcBef>
              <a:buFont typeface="Arial Narrow" pitchFamily="34" charset="0"/>
              <a:buChar char="–"/>
              <a:defRPr lang="en-US" sz="2585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59591" indent="-248129" algn="l" defTabSz="1125444" rtl="0" eaLnBrk="1" latinLnBrk="0" hangingPunct="1">
              <a:lnSpc>
                <a:spcPct val="93000"/>
              </a:lnSpc>
              <a:spcBef>
                <a:spcPts val="246"/>
              </a:spcBef>
              <a:buFont typeface="Arial Narrow" pitchFamily="34" charset="0"/>
              <a:buChar char="-"/>
              <a:defRPr lang="en-US" sz="2585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9591" indent="0" algn="l" defTabSz="1125444" rtl="0" eaLnBrk="1" latinLnBrk="0" hangingPunct="1">
              <a:lnSpc>
                <a:spcPct val="93000"/>
              </a:lnSpc>
              <a:spcBef>
                <a:spcPts val="0"/>
              </a:spcBef>
              <a:buFont typeface="Arial" pitchFamily="34" charset="0"/>
              <a:buNone/>
              <a:defRPr sz="2092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3094970" indent="-281361" algn="l" defTabSz="112544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691" indent="-281361" algn="l" defTabSz="112544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20413" indent="-281361" algn="l" defTabSz="112544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83135" indent="-281361" algn="l" defTabSz="112544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lnSpc>
                <a:spcPct val="100000"/>
              </a:lnSpc>
              <a:spcBef>
                <a:spcPct val="0"/>
              </a:spcBef>
              <a:buNone/>
            </a:pPr>
            <a:fld id="{DA01187D-B91A-4FF5-BD10-01A78F2F4458}" type="datetime'''''''П''ри'' п''ла''нир''ов''ании&#10;обосн''овании закуп''ок'''">
              <a:rPr lang="ru-RU" altLang="en-US" sz="1600">
                <a:sym typeface="+mn-lt"/>
              </a:rPr>
              <a:pPr/>
              <a:t>При планировании
обосновании закупок</a:t>
            </a:fld>
            <a:endParaRPr lang="ru-RU" sz="1600" dirty="0">
              <a:sym typeface="+mn-lt"/>
            </a:endParaRPr>
          </a:p>
        </p:txBody>
      </p:sp>
      <p:sp>
        <p:nvSpPr>
          <p:cNvPr id="21" name="Text Placeholder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1135063" y="3465513"/>
            <a:ext cx="1504950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1125444" rtl="0" eaLnBrk="1" latinLnBrk="0" hangingPunct="1">
              <a:lnSpc>
                <a:spcPct val="93000"/>
              </a:lnSpc>
              <a:spcBef>
                <a:spcPts val="0"/>
              </a:spcBef>
              <a:buFont typeface="Arial" pitchFamily="34" charset="0"/>
              <a:buNone/>
              <a:defRPr lang="en-US" sz="2585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3576" indent="-283576" algn="l" defTabSz="1125444" rtl="0" eaLnBrk="1" latinLnBrk="0" hangingPunct="1">
              <a:lnSpc>
                <a:spcPct val="93000"/>
              </a:lnSpc>
              <a:spcBef>
                <a:spcPts val="1477"/>
              </a:spcBef>
              <a:buFont typeface="Arial Narrow" pitchFamily="34" charset="0"/>
              <a:buChar char="&gt;"/>
              <a:defRPr lang="en-US" sz="2585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3738" indent="-288007" algn="l" defTabSz="1125444" rtl="0" eaLnBrk="1" latinLnBrk="0" hangingPunct="1">
              <a:lnSpc>
                <a:spcPct val="93000"/>
              </a:lnSpc>
              <a:spcBef>
                <a:spcPts val="492"/>
              </a:spcBef>
              <a:buFont typeface="Arial Narrow" pitchFamily="34" charset="0"/>
              <a:buChar char="–"/>
              <a:defRPr lang="en-US" sz="2585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59591" indent="-248129" algn="l" defTabSz="1125444" rtl="0" eaLnBrk="1" latinLnBrk="0" hangingPunct="1">
              <a:lnSpc>
                <a:spcPct val="93000"/>
              </a:lnSpc>
              <a:spcBef>
                <a:spcPts val="246"/>
              </a:spcBef>
              <a:buFont typeface="Arial Narrow" pitchFamily="34" charset="0"/>
              <a:buChar char="-"/>
              <a:defRPr lang="en-US" sz="2585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9591" indent="0" algn="l" defTabSz="1125444" rtl="0" eaLnBrk="1" latinLnBrk="0" hangingPunct="1">
              <a:lnSpc>
                <a:spcPct val="93000"/>
              </a:lnSpc>
              <a:spcBef>
                <a:spcPts val="0"/>
              </a:spcBef>
              <a:buFont typeface="Arial" pitchFamily="34" charset="0"/>
              <a:buNone/>
              <a:defRPr sz="2092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3094970" indent="-281361" algn="l" defTabSz="112544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691" indent="-281361" algn="l" defTabSz="112544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20413" indent="-281361" algn="l" defTabSz="112544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83135" indent="-281361" algn="l" defTabSz="112544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lnSpc>
                <a:spcPct val="100000"/>
              </a:lnSpc>
              <a:spcBef>
                <a:spcPct val="0"/>
              </a:spcBef>
              <a:buNone/>
            </a:pPr>
            <a:fld id="{689C22EB-E184-4AD3-9DBA-A5FE3D73219D}" type="datetime'Пр''''и'' ''и''с''''полн''е''''''''''нии'' ''Г''''''''''К'''''">
              <a:rPr lang="ru-RU" altLang="en-US" sz="1600">
                <a:sym typeface="+mn-lt"/>
              </a:rPr>
              <a:pPr/>
              <a:t>При исполнении ГК</a:t>
            </a:fld>
            <a:endParaRPr lang="ru-RU" sz="1600" dirty="0">
              <a:sym typeface="+mn-lt"/>
            </a:endParaRPr>
          </a:p>
        </p:txBody>
      </p:sp>
      <p:sp>
        <p:nvSpPr>
          <p:cNvPr id="22" name="Text Placeholder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733425" y="2593975"/>
            <a:ext cx="1906588" cy="488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1125444" rtl="0" eaLnBrk="1" latinLnBrk="0" hangingPunct="1">
              <a:lnSpc>
                <a:spcPct val="93000"/>
              </a:lnSpc>
              <a:spcBef>
                <a:spcPts val="0"/>
              </a:spcBef>
              <a:buFont typeface="Arial" pitchFamily="34" charset="0"/>
              <a:buNone/>
              <a:defRPr lang="en-US" sz="2585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3576" indent="-283576" algn="l" defTabSz="1125444" rtl="0" eaLnBrk="1" latinLnBrk="0" hangingPunct="1">
              <a:lnSpc>
                <a:spcPct val="93000"/>
              </a:lnSpc>
              <a:spcBef>
                <a:spcPts val="1477"/>
              </a:spcBef>
              <a:buFont typeface="Arial Narrow" pitchFamily="34" charset="0"/>
              <a:buChar char="&gt;"/>
              <a:defRPr lang="en-US" sz="2585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3738" indent="-288007" algn="l" defTabSz="1125444" rtl="0" eaLnBrk="1" latinLnBrk="0" hangingPunct="1">
              <a:lnSpc>
                <a:spcPct val="93000"/>
              </a:lnSpc>
              <a:spcBef>
                <a:spcPts val="492"/>
              </a:spcBef>
              <a:buFont typeface="Arial Narrow" pitchFamily="34" charset="0"/>
              <a:buChar char="–"/>
              <a:defRPr lang="en-US" sz="2585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59591" indent="-248129" algn="l" defTabSz="1125444" rtl="0" eaLnBrk="1" latinLnBrk="0" hangingPunct="1">
              <a:lnSpc>
                <a:spcPct val="93000"/>
              </a:lnSpc>
              <a:spcBef>
                <a:spcPts val="246"/>
              </a:spcBef>
              <a:buFont typeface="Arial Narrow" pitchFamily="34" charset="0"/>
              <a:buChar char="-"/>
              <a:defRPr lang="en-US" sz="2585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9591" indent="0" algn="l" defTabSz="1125444" rtl="0" eaLnBrk="1" latinLnBrk="0" hangingPunct="1">
              <a:lnSpc>
                <a:spcPct val="93000"/>
              </a:lnSpc>
              <a:spcBef>
                <a:spcPts val="0"/>
              </a:spcBef>
              <a:buFont typeface="Arial" pitchFamily="34" charset="0"/>
              <a:buNone/>
              <a:defRPr sz="2092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3094970" indent="-281361" algn="l" defTabSz="112544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691" indent="-281361" algn="l" defTabSz="112544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20413" indent="-281361" algn="l" defTabSz="112544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83135" indent="-281361" algn="l" defTabSz="112544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lnSpc>
                <a:spcPct val="100000"/>
              </a:lnSpc>
              <a:spcBef>
                <a:spcPct val="0"/>
              </a:spcBef>
              <a:buNone/>
            </a:pPr>
            <a:fld id="{B522449C-513A-4DE6-8188-68B3678E4B13}" type="datetime'''Порядок'' о''сущес''тв''ле''н''ия&#10;з''а''ку''''''по''к'">
              <a:rPr lang="ru-RU" altLang="en-US" sz="1600"/>
              <a:pPr/>
              <a:t>Порядок осуществления
закупок</a:t>
            </a:fld>
            <a:endParaRPr lang="ru-RU" sz="1600" dirty="0">
              <a:sym typeface="+mn-lt"/>
            </a:endParaRPr>
          </a:p>
        </p:txBody>
      </p:sp>
      <p:sp>
        <p:nvSpPr>
          <p:cNvPr id="23" name="Text Placeholder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2212975" y="4965700"/>
            <a:ext cx="427038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1125444" rtl="0" eaLnBrk="1" latinLnBrk="0" hangingPunct="1">
              <a:lnSpc>
                <a:spcPct val="93000"/>
              </a:lnSpc>
              <a:spcBef>
                <a:spcPts val="0"/>
              </a:spcBef>
              <a:buFont typeface="Arial" pitchFamily="34" charset="0"/>
              <a:buNone/>
              <a:defRPr lang="en-US" sz="2585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3576" indent="-283576" algn="l" defTabSz="1125444" rtl="0" eaLnBrk="1" latinLnBrk="0" hangingPunct="1">
              <a:lnSpc>
                <a:spcPct val="93000"/>
              </a:lnSpc>
              <a:spcBef>
                <a:spcPts val="1477"/>
              </a:spcBef>
              <a:buFont typeface="Arial Narrow" pitchFamily="34" charset="0"/>
              <a:buChar char="&gt;"/>
              <a:defRPr lang="en-US" sz="2585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3738" indent="-288007" algn="l" defTabSz="1125444" rtl="0" eaLnBrk="1" latinLnBrk="0" hangingPunct="1">
              <a:lnSpc>
                <a:spcPct val="93000"/>
              </a:lnSpc>
              <a:spcBef>
                <a:spcPts val="492"/>
              </a:spcBef>
              <a:buFont typeface="Arial Narrow" pitchFamily="34" charset="0"/>
              <a:buChar char="–"/>
              <a:defRPr lang="en-US" sz="2585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59591" indent="-248129" algn="l" defTabSz="1125444" rtl="0" eaLnBrk="1" latinLnBrk="0" hangingPunct="1">
              <a:lnSpc>
                <a:spcPct val="93000"/>
              </a:lnSpc>
              <a:spcBef>
                <a:spcPts val="246"/>
              </a:spcBef>
              <a:buFont typeface="Arial Narrow" pitchFamily="34" charset="0"/>
              <a:buChar char="-"/>
              <a:defRPr lang="en-US" sz="2585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9591" indent="0" algn="l" defTabSz="1125444" rtl="0" eaLnBrk="1" latinLnBrk="0" hangingPunct="1">
              <a:lnSpc>
                <a:spcPct val="93000"/>
              </a:lnSpc>
              <a:spcBef>
                <a:spcPts val="0"/>
              </a:spcBef>
              <a:buFont typeface="Arial" pitchFamily="34" charset="0"/>
              <a:buNone/>
              <a:defRPr sz="2092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3094970" indent="-281361" algn="l" defTabSz="112544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691" indent="-281361" algn="l" defTabSz="112544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20413" indent="-281361" algn="l" defTabSz="112544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83135" indent="-281361" algn="l" defTabSz="112544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lnSpc>
                <a:spcPct val="100000"/>
              </a:lnSpc>
              <a:spcBef>
                <a:spcPct val="0"/>
              </a:spcBef>
              <a:buNone/>
            </a:pPr>
            <a:fld id="{E12C88DE-BDAD-4F7B-ACC1-2F817D422BFB}" type="datetime'''''''''''''''''''''''''''''''''''''''И''''н''''''ые'''''''">
              <a:rPr lang="ru-RU" altLang="en-US" sz="1600">
                <a:sym typeface="+mn-lt"/>
              </a:rPr>
              <a:pPr/>
              <a:t>Иные</a:t>
            </a:fld>
            <a:endParaRPr lang="ru-RU" sz="1600" dirty="0">
              <a:sym typeface="+mn-lt"/>
            </a:endParaRPr>
          </a:p>
        </p:txBody>
      </p:sp>
      <p:sp>
        <p:nvSpPr>
          <p:cNvPr id="32" name="Text Placeholder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479425" y="1965325"/>
            <a:ext cx="2160588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1125444" rtl="0" eaLnBrk="1" latinLnBrk="0" hangingPunct="1">
              <a:lnSpc>
                <a:spcPct val="93000"/>
              </a:lnSpc>
              <a:spcBef>
                <a:spcPts val="0"/>
              </a:spcBef>
              <a:buFont typeface="Arial" pitchFamily="34" charset="0"/>
              <a:buNone/>
              <a:defRPr lang="en-US" sz="2585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3576" indent="-283576" algn="l" defTabSz="1125444" rtl="0" eaLnBrk="1" latinLnBrk="0" hangingPunct="1">
              <a:lnSpc>
                <a:spcPct val="93000"/>
              </a:lnSpc>
              <a:spcBef>
                <a:spcPts val="1477"/>
              </a:spcBef>
              <a:buFont typeface="Arial Narrow" pitchFamily="34" charset="0"/>
              <a:buChar char="&gt;"/>
              <a:defRPr lang="en-US" sz="2585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3738" indent="-288007" algn="l" defTabSz="1125444" rtl="0" eaLnBrk="1" latinLnBrk="0" hangingPunct="1">
              <a:lnSpc>
                <a:spcPct val="93000"/>
              </a:lnSpc>
              <a:spcBef>
                <a:spcPts val="492"/>
              </a:spcBef>
              <a:buFont typeface="Arial Narrow" pitchFamily="34" charset="0"/>
              <a:buChar char="–"/>
              <a:defRPr lang="en-US" sz="2585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59591" indent="-248129" algn="l" defTabSz="1125444" rtl="0" eaLnBrk="1" latinLnBrk="0" hangingPunct="1">
              <a:lnSpc>
                <a:spcPct val="93000"/>
              </a:lnSpc>
              <a:spcBef>
                <a:spcPts val="246"/>
              </a:spcBef>
              <a:buFont typeface="Arial Narrow" pitchFamily="34" charset="0"/>
              <a:buChar char="-"/>
              <a:defRPr lang="en-US" sz="2585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9591" indent="0" algn="l" defTabSz="1125444" rtl="0" eaLnBrk="1" latinLnBrk="0" hangingPunct="1">
              <a:lnSpc>
                <a:spcPct val="93000"/>
              </a:lnSpc>
              <a:spcBef>
                <a:spcPts val="0"/>
              </a:spcBef>
              <a:buFont typeface="Arial" pitchFamily="34" charset="0"/>
              <a:buNone/>
              <a:defRPr sz="2092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3094970" indent="-281361" algn="l" defTabSz="112544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691" indent="-281361" algn="l" defTabSz="112544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20413" indent="-281361" algn="l" defTabSz="112544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83135" indent="-281361" algn="l" defTabSz="112544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lnSpc>
                <a:spcPct val="100000"/>
              </a:lnSpc>
              <a:spcBef>
                <a:spcPct val="0"/>
              </a:spcBef>
              <a:buNone/>
            </a:pPr>
            <a:fld id="{220797C1-C824-438D-9135-9B6793885787}" type="datetime'В''ы''''я''в''л''''е''но в''''сего ''''на''''''р''ушени''''й'">
              <a:rPr lang="ru-RU" altLang="en-US" sz="1600">
                <a:sym typeface="+mn-lt"/>
              </a:rPr>
              <a:pPr/>
              <a:t>Выявлено всего нарушений</a:t>
            </a:fld>
            <a:endParaRPr lang="ru-RU" sz="1600" dirty="0">
              <a:sym typeface="+mn-lt"/>
            </a:endParaRPr>
          </a:p>
        </p:txBody>
      </p:sp>
      <p:sp>
        <p:nvSpPr>
          <p:cNvPr id="73" name="TextBox 72"/>
          <p:cNvSpPr txBox="1"/>
          <p:nvPr/>
        </p:nvSpPr>
        <p:spPr>
          <a:xfrm>
            <a:off x="8832304" y="1772816"/>
            <a:ext cx="3168351" cy="1246495"/>
          </a:xfrm>
          <a:prstGeom prst="rect">
            <a:avLst/>
          </a:prstGeom>
          <a:solidFill>
            <a:srgbClr val="FFDB69"/>
          </a:solidFill>
          <a:ln w="9525">
            <a:noFill/>
          </a:ln>
        </p:spPr>
        <p:txBody>
          <a:bodyPr wrap="square" lIns="72000" tIns="0" rIns="72000" bIns="0" rtlCol="0">
            <a:spAutoFit/>
          </a:bodyPr>
          <a:lstStyle/>
          <a:p>
            <a:pPr>
              <a:lnSpc>
                <a:spcPct val="90000"/>
              </a:lnSpc>
              <a:spcBef>
                <a:spcPts val="0"/>
              </a:spcBef>
            </a:pPr>
            <a:r>
              <a:rPr lang="ru-RU" sz="1800" b="0" dirty="0">
                <a:latin typeface="+mn-lt"/>
                <a:cs typeface="Arial" pitchFamily="34" charset="0"/>
              </a:rPr>
              <a:t>На 2016 год </a:t>
            </a:r>
            <a:r>
              <a:rPr lang="ru-RU" sz="1800" dirty="0">
                <a:latin typeface="+mn-lt"/>
                <a:cs typeface="Arial" pitchFamily="34" charset="0"/>
              </a:rPr>
              <a:t>запланировано 60 </a:t>
            </a:r>
            <a:r>
              <a:rPr lang="ru-RU" sz="1800" b="0" dirty="0">
                <a:latin typeface="+mn-lt"/>
                <a:cs typeface="Arial" pitchFamily="34" charset="0"/>
              </a:rPr>
              <a:t>контрольных мероприятий.</a:t>
            </a:r>
          </a:p>
          <a:p>
            <a:pPr>
              <a:lnSpc>
                <a:spcPct val="90000"/>
              </a:lnSpc>
              <a:spcBef>
                <a:spcPts val="0"/>
              </a:spcBef>
            </a:pPr>
            <a:r>
              <a:rPr lang="ru-RU" sz="1800" dirty="0">
                <a:latin typeface="+mn-lt"/>
                <a:cs typeface="Arial" pitchFamily="34" charset="0"/>
              </a:rPr>
              <a:t>Проведено 21</a:t>
            </a:r>
            <a:r>
              <a:rPr lang="ru-RU" sz="1800" b="0" dirty="0">
                <a:latin typeface="+mn-lt"/>
                <a:cs typeface="Arial" pitchFamily="34" charset="0"/>
              </a:rPr>
              <a:t>:</a:t>
            </a:r>
          </a:p>
          <a:p>
            <a:pPr marL="285750" indent="-28575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ru-RU" sz="1800" b="0">
                <a:latin typeface="+mn-lt"/>
                <a:cs typeface="Arial" pitchFamily="34" charset="0"/>
              </a:rPr>
              <a:t>14 </a:t>
            </a:r>
            <a:r>
              <a:rPr lang="ru-RU" sz="1800" b="0" dirty="0">
                <a:latin typeface="+mn-lt"/>
                <a:cs typeface="Arial" pitchFamily="34" charset="0"/>
              </a:rPr>
              <a:t>по плану</a:t>
            </a:r>
          </a:p>
          <a:p>
            <a:pPr marL="285750" indent="-28575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ru-RU" sz="1800" b="0" dirty="0">
                <a:latin typeface="+mn-lt"/>
                <a:cs typeface="Arial" pitchFamily="34" charset="0"/>
              </a:rPr>
              <a:t>7 по распоряжению ДЗМ)</a:t>
            </a:r>
          </a:p>
        </p:txBody>
      </p:sp>
    </p:spTree>
    <p:extLst>
      <p:ext uri="{BB962C8B-B14F-4D97-AF65-F5344CB8AC3E}">
        <p14:creationId xmlns:p14="http://schemas.microsoft.com/office/powerpoint/2010/main" val="98164312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7496" y="2780928"/>
            <a:ext cx="10505831" cy="773999"/>
          </a:xfrm>
        </p:spPr>
        <p:txBody>
          <a:bodyPr/>
          <a:lstStyle/>
          <a:p>
            <a:pPr algn="ctr"/>
            <a:r>
              <a:rPr lang="ru-RU" dirty="0"/>
              <a:t>Спасибо </a:t>
            </a:r>
            <a:r>
              <a:rPr lang="ru-RU"/>
              <a:t>за внимание!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402965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72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4&quot;/&gt;&lt;end val=&quot;4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pm3GnYTPUGGPI5GUHRp.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qfWIK6ZSsuhcjSgM3Cgd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.kxEQlRTm9aVCFmH90w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8i1gPhTTUmA4xAu2PslJ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4qnSe9BR9iuEJ9f.PdSQ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amIG9bRP.obQwz8ZkE0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Vf2LXfRUq5ZeqTRCNAE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TsUHUmT56Zy2EBpL8r_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8ce5xy0QG2Bawc3qHuEP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69wUdlOES9W1j.iSTDU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akR4W4Y0q.hEp29bnJ3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4gyreV53UuQxyFaNbCmF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4ovSxaYIE.t.W5qXUwdG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akR4W4Y0q.hEp29bnJ3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Rnh8md2102_x1DZVUkXx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4ovSxaYIE.t.W5qXUwdG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akR4W4Y0q.hEp29bnJ3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4ovSxaYIE.t.W5qXUwdG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jNDmchyEKjzFiLJZg7M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7kcCHCYhkWTIiFVMB4tO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_tjZZmatkShmFK7.iNAD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4ovSxaYIE.t.W5qXUwdG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nVZS4yJ60qPLbGnti2Kb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HkQZI6lE6dpOStDmb5P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dBO91klUE6efw9mBOD7J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574Lt1pfEeuusKCiCw0P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AYihxDE5kuGURPGQNXaB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4ovSxaYIE.t.W5qXUwdG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PHyuoAsE.WfpKbpzCqq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vD57k2kkioNfvuRO01P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nnPd2UkkyemQ7VEdmVL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tJw2qYZkKcgu3gH5n07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A7rphS760.dwShkznpIa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FLCClHJUiePClkAmyAf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4ovSxaYIE.t.W5qXUwdG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5SXzVsEeSr6ZASM3NG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5SXzVsEeSr6ZASM3NG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4ovSxaYIE.t.W5qXUwdG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TIfFQ86REWA20n7iS1ef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Lj1aONpTEqE1dUmS2alw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4ovSxaYIE.t.W5qXUwdG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PHyuoAsE.WfpKbpzCqq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Lj1aONpTEqE1dUmS2alw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c9R5_eF.UupMJ3jX9q84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V94YnhPUyIX6w3ihMl_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yP7L7ra9EC.bEf6UELXD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rIlOwkk8U6NkylWX2toY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YqARlA5FUCfgMmLjRr1q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pm3GnYTPUGGPI5GUHRp.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69wUdlOES9W1j.iSTDU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c9R5_eF.UupMJ3jX9q84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akR4W4Y0q.hEp29bnJ3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4gyreV53UuQxyFaNbCmF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4ovSxaYIE.t.W5qXUwdG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akR4W4Y0q.hEp29bnJ3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Rnh8md2102_x1DZVUkXx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4ovSxaYIE.t.W5qXUwdG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akR4W4Y0q.hEp29bnJ3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4ovSxaYIE.t.W5qXUwdG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jNDmchyEKjzFiLJZg7M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7kcCHCYhkWTIiFVMB4tO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V94YnhPUyIX6w3ihMl_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_tjZZmatkShmFK7.iNAD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4ovSxaYIE.t.W5qXUwdG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nVZS4yJ60qPLbGnti2Kb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HkQZI6lE6dpOStDmb5P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dBO91klUE6efw9mBOD7J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574Lt1pfEeuusKCiCw0P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AYihxDE5kuGURPGQNXaB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4ovSxaYIE.t.W5qXUwdG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vD57k2kkioNfvuRO01P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nnPd2UkkyemQ7VEdmVL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yP7L7ra9EC.bEf6UELXD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tJw2qYZkKcgu3gH5n07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A7rphS760.dwShkznpIa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FLCClHJUiePClkAmyAf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4ovSxaYIE.t.W5qXUwdG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5SXzVsEeSr6ZASM3NG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5SXzVsEeSr6ZASM3NG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4ovSxaYIE.t.W5qXUwdG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TIfFQ86REWA20n7iS1ef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4ovSxaYIE.t.W5qXUwdG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Lq1BfX6UKd4PWOjJIWD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rIlOwkk8U6NkylWX2toY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h8gI4VTQaygrDuAfQvch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Hn_ulsRQlyDzA1MFCKjq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kuQRhMQ4S1nLJa.z3Pm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jp6bgDZRZSvGVhTV2U9M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BH6jKxlRA.UBBr0jUhq2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8POyISZSMifCzNspu6U1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pqSgCpT2qiZCavRdw1N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8i1gPhTTUmA4xAu2PslJ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scmRWESBGPGdvu9H1R5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YqARlA5FUCfgMmLjRr1q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2wsLgcSSIm5fOKB7uqDA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8ce5xy0QG2Bawc3qHuEP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7lYN1_nQ.eWdlCBgze84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uENATUiRLyJqv.0Yh1fw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4DE2s4JSh2rPaazMUJIH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D8wOKoZRq2BMQubm_fWB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h8gI4VTQaygrDuAfQvch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x45YiS5SbaabGeHL954R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EqH9JUSmuo3dAVylGIqw"/>
</p:tagLst>
</file>

<file path=ppt/theme/theme1.xml><?xml version="1.0" encoding="utf-8"?>
<a:theme xmlns:a="http://schemas.openxmlformats.org/drawingml/2006/main" name="A4rb_Premium">
  <a:themeElements>
    <a:clrScheme name="ГлавКонтроль">
      <a:dk1>
        <a:sysClr val="windowText" lastClr="000000"/>
      </a:dk1>
      <a:lt1>
        <a:sysClr val="window" lastClr="FFFFFF"/>
      </a:lt1>
      <a:dk2>
        <a:srgbClr val="2C4155"/>
      </a:dk2>
      <a:lt2>
        <a:srgbClr val="B39170"/>
      </a:lt2>
      <a:accent1>
        <a:srgbClr val="B12726"/>
      </a:accent1>
      <a:accent2>
        <a:srgbClr val="D48887"/>
      </a:accent2>
      <a:accent3>
        <a:srgbClr val="D0E1EA"/>
      </a:accent3>
      <a:accent4>
        <a:srgbClr val="6EA9C0"/>
      </a:accent4>
      <a:accent5>
        <a:srgbClr val="2E8FAB"/>
      </a:accent5>
      <a:accent6>
        <a:srgbClr val="2B657E"/>
      </a:accent6>
      <a:hlink>
        <a:srgbClr val="0070C0"/>
      </a:hlink>
      <a:folHlink>
        <a:srgbClr val="581312"/>
      </a:folHlink>
    </a:clrScheme>
    <a:fontScheme name="Другая 1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 cmpd="sng">
          <a:solidFill>
            <a:schemeClr val="accent3"/>
          </a:solidFill>
        </a:ln>
        <a:effectLst/>
      </a:spPr>
      <a:bodyPr lIns="72000" tIns="0" rIns="72000" bIns="0" rtlCol="0" anchor="ctr"/>
      <a:lstStyle>
        <a:defPPr>
          <a:lnSpc>
            <a:spcPct val="90000"/>
          </a:lnSpc>
          <a:spcBef>
            <a:spcPts val="300"/>
          </a:spcBef>
          <a:defRPr sz="1500" b="0" dirty="0" smtClean="0">
            <a:solidFill>
              <a:schemeClr val="tx1"/>
            </a:solidFill>
            <a:latin typeface="+mn-lt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3"/>
          </a:solidFill>
        </a:ln>
        <a:effectLst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>
          <a:noFill/>
        </a:ln>
      </a:spPr>
      <a:bodyPr wrap="square" lIns="0" tIns="0" rIns="0" bIns="0" rtlCol="0">
        <a:spAutoFit/>
      </a:bodyPr>
      <a:lstStyle>
        <a:defPPr>
          <a:lnSpc>
            <a:spcPct val="90000"/>
          </a:lnSpc>
          <a:spcBef>
            <a:spcPts val="0"/>
          </a:spcBef>
          <a:defRPr sz="1500" b="0" dirty="0" smtClean="0">
            <a:latin typeface="+mn-lt"/>
            <a:cs typeface="Arial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1_A4rb_Premium">
  <a:themeElements>
    <a:clrScheme name="ГлавКонтроль">
      <a:dk1>
        <a:sysClr val="windowText" lastClr="000000"/>
      </a:dk1>
      <a:lt1>
        <a:sysClr val="window" lastClr="FFFFFF"/>
      </a:lt1>
      <a:dk2>
        <a:srgbClr val="2C4155"/>
      </a:dk2>
      <a:lt2>
        <a:srgbClr val="B39170"/>
      </a:lt2>
      <a:accent1>
        <a:srgbClr val="B12726"/>
      </a:accent1>
      <a:accent2>
        <a:srgbClr val="D48887"/>
      </a:accent2>
      <a:accent3>
        <a:srgbClr val="D0E1EA"/>
      </a:accent3>
      <a:accent4>
        <a:srgbClr val="6EA9C0"/>
      </a:accent4>
      <a:accent5>
        <a:srgbClr val="2E8FAB"/>
      </a:accent5>
      <a:accent6>
        <a:srgbClr val="2B657E"/>
      </a:accent6>
      <a:hlink>
        <a:srgbClr val="0070C0"/>
      </a:hlink>
      <a:folHlink>
        <a:srgbClr val="581312"/>
      </a:folHlink>
    </a:clrScheme>
    <a:fontScheme name="Другая 1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 cmpd="sng">
          <a:solidFill>
            <a:schemeClr val="accent3"/>
          </a:solidFill>
        </a:ln>
        <a:effectLst/>
      </a:spPr>
      <a:bodyPr lIns="72000" tIns="0" rIns="72000" bIns="0" rtlCol="0" anchor="ctr"/>
      <a:lstStyle>
        <a:defPPr>
          <a:lnSpc>
            <a:spcPct val="90000"/>
          </a:lnSpc>
          <a:spcBef>
            <a:spcPts val="300"/>
          </a:spcBef>
          <a:defRPr sz="1500" b="0" dirty="0" smtClean="0">
            <a:solidFill>
              <a:schemeClr val="tx1"/>
            </a:solidFill>
            <a:latin typeface="+mn-lt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3"/>
          </a:solidFill>
        </a:ln>
        <a:effectLst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>
          <a:noFill/>
        </a:ln>
      </a:spPr>
      <a:bodyPr wrap="square" lIns="0" tIns="0" rIns="0" bIns="0" rtlCol="0">
        <a:spAutoFit/>
      </a:bodyPr>
      <a:lstStyle>
        <a:defPPr>
          <a:lnSpc>
            <a:spcPct val="90000"/>
          </a:lnSpc>
          <a:spcBef>
            <a:spcPts val="0"/>
          </a:spcBef>
          <a:defRPr sz="1500" b="0" dirty="0" smtClean="0">
            <a:latin typeface="+mn-lt"/>
            <a:cs typeface="Arial" pitchFamily="34" charset="0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A4rb_Premium</Template>
  <TotalTime>2543</TotalTime>
  <Words>317</Words>
  <Application>Microsoft Office PowerPoint</Application>
  <PresentationFormat>Произвольный</PresentationFormat>
  <Paragraphs>86</Paragraphs>
  <Slides>8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8</vt:i4>
      </vt:variant>
    </vt:vector>
  </HeadingPairs>
  <TitlesOfParts>
    <vt:vector size="12" baseType="lpstr">
      <vt:lpstr>A4rb_Premium</vt:lpstr>
      <vt:lpstr>1_A4rb_Premium</vt:lpstr>
      <vt:lpstr>think-cell Slide</vt:lpstr>
      <vt:lpstr>Chart</vt:lpstr>
      <vt:lpstr>ОТЧЁТ</vt:lpstr>
      <vt:lpstr>Система организации ведомственного контроля</vt:lpstr>
      <vt:lpstr>Ведомственный контроль в этапах осуществления закупки</vt:lpstr>
      <vt:lpstr>Особенности рассмотрения заявок МО рабочей группой ДЗМ по проверке обоснованности закупок</vt:lpstr>
      <vt:lpstr>Осуществление мониторинга процедур средствами ЕИС</vt:lpstr>
      <vt:lpstr>Контрольные мероприятия 2015 г.</vt:lpstr>
      <vt:lpstr>Контрольные мероприятия 2016 г.</vt:lpstr>
      <vt:lpstr>Спасибо за внимание!</vt:lpstr>
    </vt:vector>
  </TitlesOfParts>
  <Company>Roland Berger Strategy Consultants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sabina kulahmedova</dc:creator>
  <cp:lastModifiedBy>Пахтусова Людмила Юрьевна</cp:lastModifiedBy>
  <cp:revision>250</cp:revision>
  <cp:lastPrinted>2016-04-26T10:36:30Z</cp:lastPrinted>
  <dcterms:created xsi:type="dcterms:W3CDTF">2013-07-09T14:28:21Z</dcterms:created>
  <dcterms:modified xsi:type="dcterms:W3CDTF">2016-04-26T10:36:39Z</dcterms:modified>
  <cp:category>RB Template</cp:category>
  <cp:contentStatus>20120201</cp:contentStatus>
</cp:coreProperties>
</file>